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941" r:id="rId4"/>
  </p:sldMasterIdLst>
  <p:notesMasterIdLst>
    <p:notesMasterId r:id="rId47"/>
  </p:notesMasterIdLst>
  <p:handoutMasterIdLst>
    <p:handoutMasterId r:id="rId48"/>
  </p:handoutMasterIdLst>
  <p:sldIdLst>
    <p:sldId id="427" r:id="rId5"/>
    <p:sldId id="452" r:id="rId6"/>
    <p:sldId id="352" r:id="rId7"/>
    <p:sldId id="453" r:id="rId8"/>
    <p:sldId id="346" r:id="rId9"/>
    <p:sldId id="454" r:id="rId10"/>
    <p:sldId id="527" r:id="rId11"/>
    <p:sldId id="460" r:id="rId12"/>
    <p:sldId id="461" r:id="rId13"/>
    <p:sldId id="528" r:id="rId14"/>
    <p:sldId id="463" r:id="rId15"/>
    <p:sldId id="499" r:id="rId16"/>
    <p:sldId id="529" r:id="rId17"/>
    <p:sldId id="466" r:id="rId18"/>
    <p:sldId id="504" r:id="rId19"/>
    <p:sldId id="530" r:id="rId20"/>
    <p:sldId id="479" r:id="rId21"/>
    <p:sldId id="470" r:id="rId22"/>
    <p:sldId id="531" r:id="rId23"/>
    <p:sldId id="481" r:id="rId24"/>
    <p:sldId id="487" r:id="rId25"/>
    <p:sldId id="532" r:id="rId26"/>
    <p:sldId id="483" r:id="rId27"/>
    <p:sldId id="533" r:id="rId28"/>
    <p:sldId id="534" r:id="rId29"/>
    <p:sldId id="485" r:id="rId30"/>
    <p:sldId id="535" r:id="rId31"/>
    <p:sldId id="536" r:id="rId32"/>
    <p:sldId id="480" r:id="rId33"/>
    <p:sldId id="490" r:id="rId34"/>
    <p:sldId id="538" r:id="rId35"/>
    <p:sldId id="482" r:id="rId36"/>
    <p:sldId id="524" r:id="rId37"/>
    <p:sldId id="539" r:id="rId38"/>
    <p:sldId id="484" r:id="rId39"/>
    <p:sldId id="525" r:id="rId40"/>
    <p:sldId id="540" r:id="rId41"/>
    <p:sldId id="486" r:id="rId42"/>
    <p:sldId id="526" r:id="rId43"/>
    <p:sldId id="541" r:id="rId44"/>
    <p:sldId id="434" r:id="rId45"/>
    <p:sldId id="435" r:id="rId46"/>
  </p:sldIdLst>
  <p:sldSz cx="12192000" cy="6858000"/>
  <p:notesSz cx="6858000" cy="9144000"/>
  <p:custDataLst>
    <p:tags r:id="rId4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0070AD"/>
    <a:srgbClr val="A0428A"/>
    <a:srgbClr val="5C2D91"/>
    <a:srgbClr val="12ABDB"/>
    <a:srgbClr val="F5C100"/>
    <a:srgbClr val="E6E7E7"/>
    <a:srgbClr val="E3E4E8"/>
    <a:srgbClr val="2B143D"/>
    <a:srgbClr val="95E6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73" autoAdjust="0"/>
    <p:restoredTop sz="96120" autoAdjust="0"/>
  </p:normalViewPr>
  <p:slideViewPr>
    <p:cSldViewPr>
      <p:cViewPr varScale="1">
        <p:scale>
          <a:sx n="110" d="100"/>
          <a:sy n="110" d="100"/>
        </p:scale>
        <p:origin x="792" y="11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3072"/>
    </p:cViewPr>
  </p:sorterViewPr>
  <p:notesViewPr>
    <p:cSldViewPr>
      <p:cViewPr varScale="1">
        <p:scale>
          <a:sx n="77" d="100"/>
          <a:sy n="77" d="100"/>
        </p:scale>
        <p:origin x="2548" y="76"/>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06/12/2020</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06/1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a:t>
            </a:fld>
            <a:endParaRPr lang="pt-BR" dirty="0"/>
          </a:p>
        </p:txBody>
      </p:sp>
    </p:spTree>
    <p:extLst>
      <p:ext uri="{BB962C8B-B14F-4D97-AF65-F5344CB8AC3E}">
        <p14:creationId xmlns:p14="http://schemas.microsoft.com/office/powerpoint/2010/main" val="2262602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5623585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33261484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2</a:t>
            </a:fld>
            <a:endParaRPr lang="pt-BR"/>
          </a:p>
        </p:txBody>
      </p:sp>
    </p:spTree>
    <p:extLst>
      <p:ext uri="{BB962C8B-B14F-4D97-AF65-F5344CB8AC3E}">
        <p14:creationId xmlns:p14="http://schemas.microsoft.com/office/powerpoint/2010/main" val="41970616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5</a:t>
            </a:fld>
            <a:endParaRPr lang="pt-BR"/>
          </a:p>
        </p:txBody>
      </p:sp>
    </p:spTree>
    <p:extLst>
      <p:ext uri="{BB962C8B-B14F-4D97-AF65-F5344CB8AC3E}">
        <p14:creationId xmlns:p14="http://schemas.microsoft.com/office/powerpoint/2010/main" val="35769940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8</a:t>
            </a:fld>
            <a:endParaRPr lang="pt-BR"/>
          </a:p>
        </p:txBody>
      </p:sp>
    </p:spTree>
    <p:extLst>
      <p:ext uri="{BB962C8B-B14F-4D97-AF65-F5344CB8AC3E}">
        <p14:creationId xmlns:p14="http://schemas.microsoft.com/office/powerpoint/2010/main" val="31449188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a:t>
            </a:fld>
            <a:endParaRPr lang="pt-BR" dirty="0"/>
          </a:p>
        </p:txBody>
      </p:sp>
    </p:spTree>
    <p:extLst>
      <p:ext uri="{BB962C8B-B14F-4D97-AF65-F5344CB8AC3E}">
        <p14:creationId xmlns:p14="http://schemas.microsoft.com/office/powerpoint/2010/main" val="30256566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23461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22022358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29766899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13375696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22111226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14741162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2483386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3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2.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10.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4.xml"/><Relationship Id="rId16" Type="http://schemas.openxmlformats.org/officeDocument/2006/relationships/image" Target="../media/image13.png"/><Relationship Id="rId1" Type="http://schemas.openxmlformats.org/officeDocument/2006/relationships/tags" Target="../tags/tag29.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11.png"/><Relationship Id="rId4" Type="http://schemas.openxmlformats.org/officeDocument/2006/relationships/image" Target="../media/image9.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691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userDrawn="1"/>
        </p:nvSpPr>
        <p:spPr bwMode="auto">
          <a:xfrm>
            <a:off x="-1" y="0"/>
            <a:ext cx="5557037"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824315"/>
            <a:ext cx="3763883" cy="1830078"/>
          </a:xfrm>
          <a:prstGeom prst="rect">
            <a:avLst/>
          </a:prstGeom>
        </p:spPr>
        <p:txBody>
          <a:bodyPr/>
          <a:lstStyle>
            <a:lvl1pPr>
              <a:defRPr>
                <a:solidFill>
                  <a:schemeClr val="accent2"/>
                </a:solidFill>
              </a:defRPr>
            </a:lvl1pPr>
          </a:lstStyle>
          <a:p>
            <a:r>
              <a:rPr lang="fr-FR"/>
              <a:t>Modifiez le style du titre</a:t>
            </a:r>
            <a:endParaRPr lang="en-GB" dirty="0"/>
          </a:p>
        </p:txBody>
      </p:sp>
      <p:sp>
        <p:nvSpPr>
          <p:cNvPr id="4"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640369"/>
            <a:ext cx="3763883" cy="23888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Espace réservé pour une image  7">
            <a:extLst>
              <a:ext uri="{FF2B5EF4-FFF2-40B4-BE49-F238E27FC236}">
                <a16:creationId xmlns:a16="http://schemas.microsoft.com/office/drawing/2014/main" id="{903698A5-92B9-4CBB-8D49-254FE21D3237}"/>
              </a:ext>
            </a:extLst>
          </p:cNvPr>
          <p:cNvSpPr>
            <a:spLocks noGrp="1"/>
          </p:cNvSpPr>
          <p:nvPr>
            <p:ph type="pic" sz="quarter" idx="33"/>
          </p:nvPr>
        </p:nvSpPr>
        <p:spPr>
          <a:xfrm>
            <a:off x="3936000" y="0"/>
            <a:ext cx="8256000" cy="6472224"/>
          </a:xfrm>
        </p:spPr>
        <p:txBody>
          <a:bodyPr anchor="ctr"/>
          <a:lstStyle>
            <a:lvl1pPr algn="ctr">
              <a:defRPr/>
            </a:lvl1pPr>
          </a:lstStyle>
          <a:p>
            <a:endParaRPr lang="en-US" dirty="0"/>
          </a:p>
        </p:txBody>
      </p:sp>
    </p:spTree>
    <p:extLst>
      <p:ext uri="{BB962C8B-B14F-4D97-AF65-F5344CB8AC3E}">
        <p14:creationId xmlns:p14="http://schemas.microsoft.com/office/powerpoint/2010/main" val="160370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13">
    <p:spTree>
      <p:nvGrpSpPr>
        <p:cNvPr id="1" name=""/>
        <p:cNvGrpSpPr/>
        <p:nvPr/>
      </p:nvGrpSpPr>
      <p:grpSpPr>
        <a:xfrm>
          <a:off x="0" y="0"/>
          <a:ext cx="0" cy="0"/>
          <a:chOff x="0" y="0"/>
          <a:chExt cx="0" cy="0"/>
        </a:xfrm>
      </p:grpSpPr>
      <p:sp>
        <p:nvSpPr>
          <p:cNvPr id="81926" name="Freeform 6"/>
          <p:cNvSpPr>
            <a:spLocks/>
          </p:cNvSpPr>
          <p:nvPr userDrawn="1"/>
        </p:nvSpPr>
        <p:spPr bwMode="auto">
          <a:xfrm>
            <a:off x="0" y="2312"/>
            <a:ext cx="9360442"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794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50" y="824315"/>
            <a:ext cx="4500650" cy="1830078"/>
          </a:xfrm>
          <a:prstGeom prst="rect">
            <a:avLst/>
          </a:prstGeom>
        </p:spPr>
        <p:txBody>
          <a:bodyPr/>
          <a:lstStyle>
            <a:lvl1pPr>
              <a:defRPr>
                <a:solidFill>
                  <a:schemeClr val="accent2"/>
                </a:solidFill>
              </a:defRPr>
            </a:lvl1pPr>
          </a:lstStyle>
          <a:p>
            <a:r>
              <a:rPr lang="fr-FR" dirty="0"/>
              <a:t>Modifiez le style du titre</a:t>
            </a:r>
            <a:endParaRPr lang="en-GB" dirty="0"/>
          </a:p>
        </p:txBody>
      </p:sp>
      <p:sp>
        <p:nvSpPr>
          <p:cNvPr id="4" name="Espace réservé du texte 3"/>
          <p:cNvSpPr>
            <a:spLocks noGrp="1"/>
          </p:cNvSpPr>
          <p:nvPr>
            <p:ph type="body" sz="quarter" idx="33"/>
          </p:nvPr>
        </p:nvSpPr>
        <p:spPr>
          <a:xfrm>
            <a:off x="5160000" y="2997000"/>
            <a:ext cx="6755775" cy="3492700"/>
          </a:xfr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6" name="Text Placeholder 7">
            <a:extLst>
              <a:ext uri="{FF2B5EF4-FFF2-40B4-BE49-F238E27FC236}">
                <a16:creationId xmlns:a16="http://schemas.microsoft.com/office/drawing/2014/main" id="{F8D22CAF-DED6-4B30-A24E-95A54BE081F6}"/>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pl-PL" dirty="0" err="1">
                <a:solidFill>
                  <a:schemeClr val="bg1">
                    <a:lumMod val="65000"/>
                  </a:schemeClr>
                </a:solidFill>
              </a:rPr>
              <a:t>Introduction</a:t>
            </a:r>
            <a:r>
              <a:rPr lang="pl-PL" dirty="0">
                <a:solidFill>
                  <a:schemeClr val="bg1">
                    <a:lumMod val="65000"/>
                  </a:schemeClr>
                </a:solidFill>
              </a:rPr>
              <a:t> to </a:t>
            </a:r>
            <a:r>
              <a:rPr lang="pl-PL" dirty="0" err="1">
                <a:solidFill>
                  <a:schemeClr val="bg1">
                    <a:lumMod val="65000"/>
                  </a:schemeClr>
                </a:solidFill>
              </a:rPr>
              <a:t>Blazor</a:t>
            </a:r>
            <a:r>
              <a:rPr lang="pl-PL" dirty="0">
                <a:solidFill>
                  <a:schemeClr val="bg1">
                    <a:lumMod val="65000"/>
                  </a:schemeClr>
                </a:solidFill>
              </a:rPr>
              <a:t> – part 1 </a:t>
            </a:r>
            <a:r>
              <a:rPr lang="en-US" dirty="0">
                <a:solidFill>
                  <a:schemeClr val="bg1">
                    <a:lumMod val="65000"/>
                  </a:schemeClr>
                </a:solidFill>
              </a:rPr>
              <a:t>| </a:t>
            </a:r>
            <a:r>
              <a:rPr lang="pl-PL" dirty="0">
                <a:solidFill>
                  <a:schemeClr val="bg1">
                    <a:lumMod val="65000"/>
                  </a:schemeClr>
                </a:solidFill>
              </a:rPr>
              <a:t>Tomasz Strzałka</a:t>
            </a:r>
            <a:r>
              <a:rPr lang="en-US" dirty="0">
                <a:solidFill>
                  <a:schemeClr val="bg1">
                    <a:lumMod val="65000"/>
                  </a:schemeClr>
                </a:solidFill>
              </a:rPr>
              <a:t> | </a:t>
            </a:r>
            <a:r>
              <a:rPr lang="pl-PL" dirty="0">
                <a:solidFill>
                  <a:schemeClr val="bg1">
                    <a:lumMod val="65000"/>
                  </a:schemeClr>
                </a:solidFill>
              </a:rPr>
              <a:t>04.012.2020</a:t>
            </a:r>
            <a:endParaRPr lang="en-US" dirty="0">
              <a:solidFill>
                <a:schemeClr val="bg1">
                  <a:lumMod val="65000"/>
                </a:schemeClr>
              </a:solidFill>
            </a:endParaRPr>
          </a:p>
        </p:txBody>
      </p:sp>
    </p:spTree>
    <p:extLst>
      <p:ext uri="{BB962C8B-B14F-4D97-AF65-F5344CB8AC3E}">
        <p14:creationId xmlns:p14="http://schemas.microsoft.com/office/powerpoint/2010/main" val="20723241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9173"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6878357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Section break 1">
    <p:bg>
      <p:bgPr>
        <a:solidFill>
          <a:srgbClr val="2B0A3D"/>
        </a:solidFill>
        <a:effectLst/>
      </p:bgPr>
    </p:bg>
    <p:spTree>
      <p:nvGrpSpPr>
        <p:cNvPr id="1" name=""/>
        <p:cNvGrpSpPr/>
        <p:nvPr/>
      </p:nvGrpSpPr>
      <p:grpSpPr>
        <a:xfrm>
          <a:off x="0" y="0"/>
          <a:ext cx="0" cy="0"/>
          <a:chOff x="0" y="0"/>
          <a:chExt cx="0" cy="0"/>
        </a:xfrm>
      </p:grpSpPr>
      <p:grpSp>
        <p:nvGrpSpPr>
          <p:cNvPr id="4" name="Groupe 26">
            <a:extLst>
              <a:ext uri="{FF2B5EF4-FFF2-40B4-BE49-F238E27FC236}">
                <a16:creationId xmlns:a16="http://schemas.microsoft.com/office/drawing/2014/main" id="{C539E234-DF64-4896-BCA7-3341D3DB3CC7}"/>
              </a:ext>
            </a:extLst>
          </p:cNvPr>
          <p:cNvGrpSpPr>
            <a:grpSpLocks noChangeAspect="1"/>
          </p:cNvGrpSpPr>
          <p:nvPr userDrawn="1"/>
        </p:nvGrpSpPr>
        <p:grpSpPr>
          <a:xfrm>
            <a:off x="0" y="2992896"/>
            <a:ext cx="3011302" cy="3865104"/>
            <a:chOff x="5672911" y="21651"/>
            <a:chExt cx="3857099" cy="4950714"/>
          </a:xfrm>
        </p:grpSpPr>
        <p:sp>
          <p:nvSpPr>
            <p:cNvPr id="5" name="Forme libre : forme 24">
              <a:extLst>
                <a:ext uri="{FF2B5EF4-FFF2-40B4-BE49-F238E27FC236}">
                  <a16:creationId xmlns:a16="http://schemas.microsoft.com/office/drawing/2014/main" id="{94FA1900-ADFB-417D-9000-1B62927A3B5E}"/>
                </a:ext>
              </a:extLst>
            </p:cNvPr>
            <p:cNvSpPr/>
            <p:nvPr/>
          </p:nvSpPr>
          <p:spPr>
            <a:xfrm>
              <a:off x="6843960" y="1914840"/>
              <a:ext cx="2686050" cy="3057525"/>
            </a:xfrm>
            <a:custGeom>
              <a:avLst/>
              <a:gdLst>
                <a:gd name="connsiteX0" fmla="*/ 1587437 w 2686050"/>
                <a:gd name="connsiteY0" fmla="*/ 1217009 h 3057525"/>
                <a:gd name="connsiteX1" fmla="*/ 7144 w 2686050"/>
                <a:gd name="connsiteY1" fmla="*/ 3050953 h 3057525"/>
                <a:gd name="connsiteX2" fmla="*/ 1874234 w 2686050"/>
                <a:gd name="connsiteY2" fmla="*/ 3050953 h 3057525"/>
                <a:gd name="connsiteX3" fmla="*/ 2647664 w 2686050"/>
                <a:gd name="connsiteY3" fmla="*/ 2171986 h 3057525"/>
                <a:gd name="connsiteX4" fmla="*/ 1567529 w 2686050"/>
                <a:gd name="connsiteY4" fmla="*/ 7144 h 3057525"/>
                <a:gd name="connsiteX5" fmla="*/ 1587437 w 2686050"/>
                <a:gd name="connsiteY5" fmla="*/ 1217009 h 305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6050" h="3057525">
                  <a:moveTo>
                    <a:pt x="1587437" y="1217009"/>
                  </a:moveTo>
                  <a:cubicBezTo>
                    <a:pt x="748855" y="1948434"/>
                    <a:pt x="54007" y="2246186"/>
                    <a:pt x="7144" y="3050953"/>
                  </a:cubicBezTo>
                  <a:lnTo>
                    <a:pt x="1874234" y="3050953"/>
                  </a:lnTo>
                  <a:cubicBezTo>
                    <a:pt x="2119313" y="2692813"/>
                    <a:pt x="2379345" y="2235899"/>
                    <a:pt x="2647664" y="2171986"/>
                  </a:cubicBezTo>
                  <a:cubicBezTo>
                    <a:pt x="2647664" y="2171986"/>
                    <a:pt x="2968847" y="780669"/>
                    <a:pt x="1567529" y="7144"/>
                  </a:cubicBezTo>
                  <a:cubicBezTo>
                    <a:pt x="1810607" y="152019"/>
                    <a:pt x="2327243" y="571595"/>
                    <a:pt x="1587437" y="1217009"/>
                  </a:cubicBezTo>
                  <a:close/>
                </a:path>
              </a:pathLst>
            </a:custGeom>
            <a:solidFill>
              <a:schemeClr val="accent2"/>
            </a:solidFill>
            <a:ln w="9525" cap="flat">
              <a:noFill/>
              <a:prstDash val="solid"/>
              <a:miter/>
            </a:ln>
          </p:spPr>
          <p:txBody>
            <a:bodyPr rtlCol="0" anchor="ctr"/>
            <a:lstStyle/>
            <a:p>
              <a:endParaRPr lang="en-US"/>
            </a:p>
          </p:txBody>
        </p:sp>
        <p:sp>
          <p:nvSpPr>
            <p:cNvPr id="6" name="Forme libre : forme 25">
              <a:extLst>
                <a:ext uri="{FF2B5EF4-FFF2-40B4-BE49-F238E27FC236}">
                  <a16:creationId xmlns:a16="http://schemas.microsoft.com/office/drawing/2014/main" id="{8869716C-6906-4AE8-A7CB-93FE18A415F9}"/>
                </a:ext>
              </a:extLst>
            </p:cNvPr>
            <p:cNvSpPr/>
            <p:nvPr/>
          </p:nvSpPr>
          <p:spPr>
            <a:xfrm>
              <a:off x="5672911" y="21651"/>
              <a:ext cx="3152775" cy="4943475"/>
            </a:xfrm>
            <a:custGeom>
              <a:avLst/>
              <a:gdLst>
                <a:gd name="connsiteX0" fmla="*/ 1189768 w 3152775"/>
                <a:gd name="connsiteY0" fmla="*/ 4944142 h 4943475"/>
                <a:gd name="connsiteX1" fmla="*/ 2770061 w 3152775"/>
                <a:gd name="connsiteY1" fmla="*/ 3110103 h 4943475"/>
                <a:gd name="connsiteX2" fmla="*/ 2750249 w 3152775"/>
                <a:gd name="connsiteY2" fmla="*/ 1900238 h 4943475"/>
                <a:gd name="connsiteX3" fmla="*/ 2642997 w 3152775"/>
                <a:gd name="connsiteY3" fmla="*/ 1843659 h 4943475"/>
                <a:gd name="connsiteX4" fmla="*/ 7144 w 3152775"/>
                <a:gd name="connsiteY4" fmla="*/ 7144 h 4943475"/>
                <a:gd name="connsiteX5" fmla="*/ 7144 w 3152775"/>
                <a:gd name="connsiteY5" fmla="*/ 4944142 h 4943475"/>
                <a:gd name="connsiteX6" fmla="*/ 1189768 w 3152775"/>
                <a:gd name="connsiteY6" fmla="*/ 4944142 h 494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2775" h="4943475">
                  <a:moveTo>
                    <a:pt x="1189768" y="4944142"/>
                  </a:moveTo>
                  <a:cubicBezTo>
                    <a:pt x="1236631" y="4139374"/>
                    <a:pt x="1931480" y="3841623"/>
                    <a:pt x="2770061" y="3110103"/>
                  </a:cubicBezTo>
                  <a:cubicBezTo>
                    <a:pt x="3509867" y="2464689"/>
                    <a:pt x="2993231" y="2045208"/>
                    <a:pt x="2750249" y="1900238"/>
                  </a:cubicBezTo>
                  <a:cubicBezTo>
                    <a:pt x="2715387" y="1881092"/>
                    <a:pt x="2679954" y="1862138"/>
                    <a:pt x="2642997" y="1843659"/>
                  </a:cubicBezTo>
                  <a:cubicBezTo>
                    <a:pt x="1384364" y="1216438"/>
                    <a:pt x="335566" y="759333"/>
                    <a:pt x="7144" y="7144"/>
                  </a:cubicBezTo>
                  <a:lnTo>
                    <a:pt x="7144" y="4944142"/>
                  </a:lnTo>
                  <a:lnTo>
                    <a:pt x="1189768" y="4944142"/>
                  </a:lnTo>
                  <a:close/>
                </a:path>
              </a:pathLst>
            </a:custGeom>
            <a:solidFill>
              <a:schemeClr val="accent1"/>
            </a:solidFill>
            <a:ln w="9525" cap="flat">
              <a:noFill/>
              <a:prstDash val="solid"/>
              <a:miter/>
            </a:ln>
          </p:spPr>
          <p:txBody>
            <a:bodyPr rtlCol="0" anchor="ctr"/>
            <a:lstStyle/>
            <a:p>
              <a:endParaRPr lang="en-US" dirty="0"/>
            </a:p>
          </p:txBody>
        </p:sp>
      </p:grpSp>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511"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3865693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7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90797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break 1">
    <p:bg>
      <p:bgPr>
        <a:solidFill>
          <a:srgbClr val="2B0A3D"/>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481"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4" name="Groupe 26">
            <a:extLst>
              <a:ext uri="{FF2B5EF4-FFF2-40B4-BE49-F238E27FC236}">
                <a16:creationId xmlns:a16="http://schemas.microsoft.com/office/drawing/2014/main" id="{C539E234-DF64-4896-BCA7-3341D3DB3CC7}"/>
              </a:ext>
            </a:extLst>
          </p:cNvPr>
          <p:cNvGrpSpPr>
            <a:grpSpLocks noChangeAspect="1"/>
          </p:cNvGrpSpPr>
          <p:nvPr userDrawn="1"/>
        </p:nvGrpSpPr>
        <p:grpSpPr>
          <a:xfrm>
            <a:off x="0" y="2992896"/>
            <a:ext cx="3011302" cy="3865104"/>
            <a:chOff x="5672911" y="21651"/>
            <a:chExt cx="3857099" cy="4950714"/>
          </a:xfrm>
        </p:grpSpPr>
        <p:sp>
          <p:nvSpPr>
            <p:cNvPr id="5" name="Forme libre : forme 24">
              <a:extLst>
                <a:ext uri="{FF2B5EF4-FFF2-40B4-BE49-F238E27FC236}">
                  <a16:creationId xmlns:a16="http://schemas.microsoft.com/office/drawing/2014/main" id="{94FA1900-ADFB-417D-9000-1B62927A3B5E}"/>
                </a:ext>
              </a:extLst>
            </p:cNvPr>
            <p:cNvSpPr/>
            <p:nvPr/>
          </p:nvSpPr>
          <p:spPr>
            <a:xfrm>
              <a:off x="6843960" y="1914840"/>
              <a:ext cx="2686050" cy="3057525"/>
            </a:xfrm>
            <a:custGeom>
              <a:avLst/>
              <a:gdLst>
                <a:gd name="connsiteX0" fmla="*/ 1587437 w 2686050"/>
                <a:gd name="connsiteY0" fmla="*/ 1217009 h 3057525"/>
                <a:gd name="connsiteX1" fmla="*/ 7144 w 2686050"/>
                <a:gd name="connsiteY1" fmla="*/ 3050953 h 3057525"/>
                <a:gd name="connsiteX2" fmla="*/ 1874234 w 2686050"/>
                <a:gd name="connsiteY2" fmla="*/ 3050953 h 3057525"/>
                <a:gd name="connsiteX3" fmla="*/ 2647664 w 2686050"/>
                <a:gd name="connsiteY3" fmla="*/ 2171986 h 3057525"/>
                <a:gd name="connsiteX4" fmla="*/ 1567529 w 2686050"/>
                <a:gd name="connsiteY4" fmla="*/ 7144 h 3057525"/>
                <a:gd name="connsiteX5" fmla="*/ 1587437 w 2686050"/>
                <a:gd name="connsiteY5" fmla="*/ 1217009 h 305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6050" h="3057525">
                  <a:moveTo>
                    <a:pt x="1587437" y="1217009"/>
                  </a:moveTo>
                  <a:cubicBezTo>
                    <a:pt x="748855" y="1948434"/>
                    <a:pt x="54007" y="2246186"/>
                    <a:pt x="7144" y="3050953"/>
                  </a:cubicBezTo>
                  <a:lnTo>
                    <a:pt x="1874234" y="3050953"/>
                  </a:lnTo>
                  <a:cubicBezTo>
                    <a:pt x="2119313" y="2692813"/>
                    <a:pt x="2379345" y="2235899"/>
                    <a:pt x="2647664" y="2171986"/>
                  </a:cubicBezTo>
                  <a:cubicBezTo>
                    <a:pt x="2647664" y="2171986"/>
                    <a:pt x="2968847" y="780669"/>
                    <a:pt x="1567529" y="7144"/>
                  </a:cubicBezTo>
                  <a:cubicBezTo>
                    <a:pt x="1810607" y="152019"/>
                    <a:pt x="2327243" y="571595"/>
                    <a:pt x="1587437" y="1217009"/>
                  </a:cubicBezTo>
                  <a:close/>
                </a:path>
              </a:pathLst>
            </a:custGeom>
            <a:solidFill>
              <a:schemeClr val="accent2"/>
            </a:solidFill>
            <a:ln w="9525" cap="flat">
              <a:noFill/>
              <a:prstDash val="solid"/>
              <a:miter/>
            </a:ln>
          </p:spPr>
          <p:txBody>
            <a:bodyPr rtlCol="0" anchor="ctr"/>
            <a:lstStyle/>
            <a:p>
              <a:endParaRPr lang="en-US"/>
            </a:p>
          </p:txBody>
        </p:sp>
        <p:sp>
          <p:nvSpPr>
            <p:cNvPr id="6" name="Forme libre : forme 25">
              <a:extLst>
                <a:ext uri="{FF2B5EF4-FFF2-40B4-BE49-F238E27FC236}">
                  <a16:creationId xmlns:a16="http://schemas.microsoft.com/office/drawing/2014/main" id="{8869716C-6906-4AE8-A7CB-93FE18A415F9}"/>
                </a:ext>
              </a:extLst>
            </p:cNvPr>
            <p:cNvSpPr/>
            <p:nvPr/>
          </p:nvSpPr>
          <p:spPr>
            <a:xfrm>
              <a:off x="5672911" y="21651"/>
              <a:ext cx="3152775" cy="4943475"/>
            </a:xfrm>
            <a:custGeom>
              <a:avLst/>
              <a:gdLst>
                <a:gd name="connsiteX0" fmla="*/ 1189768 w 3152775"/>
                <a:gd name="connsiteY0" fmla="*/ 4944142 h 4943475"/>
                <a:gd name="connsiteX1" fmla="*/ 2770061 w 3152775"/>
                <a:gd name="connsiteY1" fmla="*/ 3110103 h 4943475"/>
                <a:gd name="connsiteX2" fmla="*/ 2750249 w 3152775"/>
                <a:gd name="connsiteY2" fmla="*/ 1900238 h 4943475"/>
                <a:gd name="connsiteX3" fmla="*/ 2642997 w 3152775"/>
                <a:gd name="connsiteY3" fmla="*/ 1843659 h 4943475"/>
                <a:gd name="connsiteX4" fmla="*/ 7144 w 3152775"/>
                <a:gd name="connsiteY4" fmla="*/ 7144 h 4943475"/>
                <a:gd name="connsiteX5" fmla="*/ 7144 w 3152775"/>
                <a:gd name="connsiteY5" fmla="*/ 4944142 h 4943475"/>
                <a:gd name="connsiteX6" fmla="*/ 1189768 w 3152775"/>
                <a:gd name="connsiteY6" fmla="*/ 4944142 h 494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2775" h="4943475">
                  <a:moveTo>
                    <a:pt x="1189768" y="4944142"/>
                  </a:moveTo>
                  <a:cubicBezTo>
                    <a:pt x="1236631" y="4139374"/>
                    <a:pt x="1931480" y="3841623"/>
                    <a:pt x="2770061" y="3110103"/>
                  </a:cubicBezTo>
                  <a:cubicBezTo>
                    <a:pt x="3509867" y="2464689"/>
                    <a:pt x="2993231" y="2045208"/>
                    <a:pt x="2750249" y="1900238"/>
                  </a:cubicBezTo>
                  <a:cubicBezTo>
                    <a:pt x="2715387" y="1881092"/>
                    <a:pt x="2679954" y="1862138"/>
                    <a:pt x="2642997" y="1843659"/>
                  </a:cubicBezTo>
                  <a:cubicBezTo>
                    <a:pt x="1384364" y="1216438"/>
                    <a:pt x="335566" y="759333"/>
                    <a:pt x="7144" y="7144"/>
                  </a:cubicBezTo>
                  <a:lnTo>
                    <a:pt x="7144" y="4944142"/>
                  </a:lnTo>
                  <a:lnTo>
                    <a:pt x="1189768" y="4944142"/>
                  </a:lnTo>
                  <a:close/>
                </a:path>
              </a:pathLst>
            </a:custGeom>
            <a:solidFill>
              <a:schemeClr val="accent1"/>
            </a:solid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3019437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75"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6910176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711624" y="0"/>
            <a:ext cx="9479298"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14" name="Freeform 5">
            <a:extLst>
              <a:ext uri="{FF2B5EF4-FFF2-40B4-BE49-F238E27FC236}">
                <a16:creationId xmlns:a16="http://schemas.microsoft.com/office/drawing/2014/main" id="{097E2B3C-7165-47CD-8F90-29BD547B5A2B}"/>
              </a:ext>
            </a:extLst>
          </p:cNvPr>
          <p:cNvSpPr>
            <a:spLocks noChangeAspect="1"/>
          </p:cNvSpPr>
          <p:nvPr userDrawn="1"/>
        </p:nvSpPr>
        <p:spPr bwMode="auto">
          <a:xfrm>
            <a:off x="0" y="0"/>
            <a:ext cx="8178684" cy="8469560"/>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8386"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662617"/>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121321386"/>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92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break 4">
    <p:bg>
      <p:bgPr>
        <a:solidFill>
          <a:schemeClr val="accent1"/>
        </a:solidFill>
        <a:effectLst/>
      </p:bgPr>
    </p:bg>
    <p:spTree>
      <p:nvGrpSpPr>
        <p:cNvPr id="1" name=""/>
        <p:cNvGrpSpPr/>
        <p:nvPr/>
      </p:nvGrpSpPr>
      <p:grpSpPr>
        <a:xfrm>
          <a:off x="0" y="0"/>
          <a:ext cx="0" cy="0"/>
          <a:chOff x="0" y="0"/>
          <a:chExt cx="0" cy="0"/>
        </a:xfrm>
      </p:grpSpPr>
      <p:sp>
        <p:nvSpPr>
          <p:cNvPr id="256" name="Freeform 13">
            <a:extLst>
              <a:ext uri="{FF2B5EF4-FFF2-40B4-BE49-F238E27FC236}">
                <a16:creationId xmlns:a16="http://schemas.microsoft.com/office/drawing/2014/main" id="{25056D0A-F6A8-442B-8FEF-B02418FD5A83}"/>
              </a:ext>
            </a:extLst>
          </p:cNvPr>
          <p:cNvSpPr>
            <a:spLocks noChangeAspect="1"/>
          </p:cNvSpPr>
          <p:nvPr userDrawn="1"/>
        </p:nvSpPr>
        <p:spPr bwMode="auto">
          <a:xfrm rot="16200000" flipH="1" flipV="1">
            <a:off x="7479358" y="2150328"/>
            <a:ext cx="6867941" cy="2557343"/>
          </a:xfrm>
          <a:custGeom>
            <a:avLst/>
            <a:gdLst>
              <a:gd name="T0" fmla="*/ 0 w 1222"/>
              <a:gd name="T1" fmla="*/ 0 h 932"/>
              <a:gd name="T2" fmla="*/ 0 w 1222"/>
              <a:gd name="T3" fmla="*/ 567 h 932"/>
              <a:gd name="T4" fmla="*/ 425 w 1222"/>
              <a:gd name="T5" fmla="*/ 929 h 932"/>
              <a:gd name="T6" fmla="*/ 804 w 1222"/>
              <a:gd name="T7" fmla="*/ 575 h 932"/>
              <a:gd name="T8" fmla="*/ 1222 w 1222"/>
              <a:gd name="T9" fmla="*/ 700 h 932"/>
              <a:gd name="T10" fmla="*/ 1222 w 1222"/>
              <a:gd name="T11" fmla="*/ 0 h 932"/>
              <a:gd name="T12" fmla="*/ 0 w 1222"/>
              <a:gd name="T13" fmla="*/ 0 h 932"/>
            </a:gdLst>
            <a:ahLst/>
            <a:cxnLst>
              <a:cxn ang="0">
                <a:pos x="T0" y="T1"/>
              </a:cxn>
              <a:cxn ang="0">
                <a:pos x="T2" y="T3"/>
              </a:cxn>
              <a:cxn ang="0">
                <a:pos x="T4" y="T5"/>
              </a:cxn>
              <a:cxn ang="0">
                <a:pos x="T6" y="T7"/>
              </a:cxn>
              <a:cxn ang="0">
                <a:pos x="T8" y="T9"/>
              </a:cxn>
              <a:cxn ang="0">
                <a:pos x="T10" y="T11"/>
              </a:cxn>
              <a:cxn ang="0">
                <a:pos x="T12" y="T13"/>
              </a:cxn>
            </a:cxnLst>
            <a:rect l="0" t="0" r="r" b="b"/>
            <a:pathLst>
              <a:path w="1222" h="932">
                <a:moveTo>
                  <a:pt x="0" y="0"/>
                </a:moveTo>
                <a:cubicBezTo>
                  <a:pt x="0" y="567"/>
                  <a:pt x="0" y="567"/>
                  <a:pt x="0" y="567"/>
                </a:cubicBezTo>
                <a:cubicBezTo>
                  <a:pt x="0" y="567"/>
                  <a:pt x="111" y="924"/>
                  <a:pt x="425" y="929"/>
                </a:cubicBezTo>
                <a:cubicBezTo>
                  <a:pt x="610" y="932"/>
                  <a:pt x="681" y="819"/>
                  <a:pt x="804" y="575"/>
                </a:cubicBezTo>
                <a:cubicBezTo>
                  <a:pt x="953" y="597"/>
                  <a:pt x="1096" y="638"/>
                  <a:pt x="1222" y="700"/>
                </a:cubicBezTo>
                <a:cubicBezTo>
                  <a:pt x="1222" y="0"/>
                  <a:pt x="1222" y="0"/>
                  <a:pt x="1222" y="0"/>
                </a:cubicBezTo>
                <a:lnTo>
                  <a:pt x="0" y="0"/>
                </a:lnTo>
                <a:close/>
              </a:path>
            </a:pathLst>
          </a:custGeom>
          <a:solidFill>
            <a:schemeClr val="bg1"/>
          </a:solidFill>
          <a:ln>
            <a:noFill/>
          </a:ln>
          <a:effectLst/>
        </p:spPr>
        <p:txBody>
          <a:bodyPr vert="horz" wrap="square" lIns="121920" tIns="60960" rIns="121920" bIns="60960" numCol="1" anchor="t" anchorCtr="0" compatLnSpc="1">
            <a:prstTxWarp prst="textNoShape">
              <a:avLst/>
            </a:prstTxWarp>
          </a:bodyPr>
          <a:lstStyle/>
          <a:p>
            <a:endParaRPr lang="en-US" sz="2400" dirty="0"/>
          </a:p>
        </p:txBody>
      </p:sp>
      <p:sp>
        <p:nvSpPr>
          <p:cNvPr id="259" name="Titre 1">
            <a:extLst>
              <a:ext uri="{FF2B5EF4-FFF2-40B4-BE49-F238E27FC236}">
                <a16:creationId xmlns:a16="http://schemas.microsoft.com/office/drawing/2014/main" id="{FA98AEB8-061D-41B1-8B3D-F8B62456D8D9}"/>
              </a:ext>
            </a:extLst>
          </p:cNvPr>
          <p:cNvSpPr>
            <a:spLocks noGrp="1"/>
          </p:cNvSpPr>
          <p:nvPr userDrawn="1">
            <p:ph type="ctrTitle" hasCustomPrompt="1"/>
          </p:nvPr>
        </p:nvSpPr>
        <p:spPr>
          <a:xfrm>
            <a:off x="584598" y="978131"/>
            <a:ext cx="8026069" cy="2751813"/>
          </a:xfrm>
          <a:prstGeom prst="rect">
            <a:avLst/>
          </a:prstGeom>
        </p:spPr>
        <p:txBody>
          <a:bodyPr anchor="b" anchorCtr="0">
            <a:noAutofit/>
          </a:bodyPr>
          <a:lstStyle>
            <a:lvl1pPr algn="l">
              <a:lnSpc>
                <a:spcPts val="6133"/>
              </a:lnSpc>
              <a:defRPr sz="4400" baseline="0">
                <a:solidFill>
                  <a:schemeClr val="accent5"/>
                </a:solidFill>
              </a:defRPr>
            </a:lvl1pPr>
          </a:lstStyle>
          <a:p>
            <a:pPr lvl="0"/>
            <a:r>
              <a:rPr lang="en-US" dirty="0"/>
              <a:t>Click to insert section title</a:t>
            </a:r>
            <a:endParaRPr lang="pt-PT" dirty="0"/>
          </a:p>
        </p:txBody>
      </p:sp>
      <p:sp>
        <p:nvSpPr>
          <p:cNvPr id="260" name="Sous-titre 2">
            <a:extLst>
              <a:ext uri="{FF2B5EF4-FFF2-40B4-BE49-F238E27FC236}">
                <a16:creationId xmlns:a16="http://schemas.microsoft.com/office/drawing/2014/main" id="{56C34801-49BF-47C5-9121-10AB164315A4}"/>
              </a:ext>
            </a:extLst>
          </p:cNvPr>
          <p:cNvSpPr>
            <a:spLocks noGrp="1"/>
          </p:cNvSpPr>
          <p:nvPr userDrawn="1">
            <p:ph type="subTitle" idx="1"/>
          </p:nvPr>
        </p:nvSpPr>
        <p:spPr>
          <a:xfrm>
            <a:off x="584597" y="3888939"/>
            <a:ext cx="6988463" cy="1752600"/>
          </a:xfrm>
          <a:prstGeom prst="rect">
            <a:avLst/>
          </a:prstGeom>
        </p:spPr>
        <p:txBody>
          <a:bodyPr/>
          <a:lstStyle>
            <a:lvl1pPr marL="0" indent="0" algn="l">
              <a:spcBef>
                <a:spcPts val="0"/>
              </a:spcBef>
              <a:buNone/>
              <a:defRPr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grpSp>
        <p:nvGrpSpPr>
          <p:cNvPr id="258" name="Groupe 257">
            <a:extLst>
              <a:ext uri="{FF2B5EF4-FFF2-40B4-BE49-F238E27FC236}">
                <a16:creationId xmlns:a16="http://schemas.microsoft.com/office/drawing/2014/main" id="{75BB07C4-C16B-43EA-BE3C-52AE5AB6EDEA}"/>
              </a:ext>
            </a:extLst>
          </p:cNvPr>
          <p:cNvGrpSpPr/>
          <p:nvPr userDrawn="1"/>
        </p:nvGrpSpPr>
        <p:grpSpPr>
          <a:xfrm>
            <a:off x="11501102" y="171573"/>
            <a:ext cx="419436" cy="388988"/>
            <a:chOff x="11501102" y="171573"/>
            <a:chExt cx="419436" cy="388988"/>
          </a:xfrm>
        </p:grpSpPr>
        <p:sp>
          <p:nvSpPr>
            <p:cNvPr id="264" name="Freeform 13">
              <a:extLst>
                <a:ext uri="{FF2B5EF4-FFF2-40B4-BE49-F238E27FC236}">
                  <a16:creationId xmlns:a16="http://schemas.microsoft.com/office/drawing/2014/main" id="{A9780485-C4BF-4ECA-8A72-83A10A3277B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5" name="Freeform 14">
              <a:extLst>
                <a:ext uri="{FF2B5EF4-FFF2-40B4-BE49-F238E27FC236}">
                  <a16:creationId xmlns:a16="http://schemas.microsoft.com/office/drawing/2014/main" id="{84801B76-5710-4A84-B7A8-D575F34FB8B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154897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53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940770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20.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fr-FR"/>
              <a:t>Modifiez le style du titr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6040420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755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userDrawn="1"/>
        </p:nvSpPr>
        <p:spPr bwMode="auto">
          <a:xfrm>
            <a:off x="-1" y="0"/>
            <a:ext cx="5557037"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824315"/>
            <a:ext cx="3763883" cy="1830078"/>
          </a:xfrm>
          <a:prstGeom prst="rect">
            <a:avLst/>
          </a:prstGeom>
        </p:spPr>
        <p:txBody>
          <a:bodyPr/>
          <a:lstStyle>
            <a:lvl1pPr>
              <a:defRPr>
                <a:solidFill>
                  <a:schemeClr val="accent2"/>
                </a:solidFill>
              </a:defRPr>
            </a:lvl1pPr>
          </a:lstStyle>
          <a:p>
            <a:r>
              <a:rPr lang="fr-FR"/>
              <a:t>Modifiez le style du titre</a:t>
            </a:r>
            <a:endParaRPr lang="en-GB" dirty="0"/>
          </a:p>
        </p:txBody>
      </p:sp>
      <p:sp>
        <p:nvSpPr>
          <p:cNvPr id="4"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640369"/>
            <a:ext cx="3763883" cy="23888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Espace réservé pour une image  7">
            <a:extLst>
              <a:ext uri="{FF2B5EF4-FFF2-40B4-BE49-F238E27FC236}">
                <a16:creationId xmlns:a16="http://schemas.microsoft.com/office/drawing/2014/main" id="{903698A5-92B9-4CBB-8D49-254FE21D3237}"/>
              </a:ext>
            </a:extLst>
          </p:cNvPr>
          <p:cNvSpPr>
            <a:spLocks noGrp="1"/>
          </p:cNvSpPr>
          <p:nvPr>
            <p:ph type="pic" sz="quarter" idx="33"/>
          </p:nvPr>
        </p:nvSpPr>
        <p:spPr>
          <a:xfrm>
            <a:off x="3936000" y="0"/>
            <a:ext cx="8256000" cy="6472224"/>
          </a:xfrm>
        </p:spPr>
        <p:txBody>
          <a:bodyPr anchor="ctr"/>
          <a:lstStyle>
            <a:lvl1pPr algn="ctr">
              <a:defRPr/>
            </a:lvl1pPr>
          </a:lstStyle>
          <a:p>
            <a:endParaRPr lang="en-US" dirty="0"/>
          </a:p>
        </p:txBody>
      </p:sp>
    </p:spTree>
    <p:extLst>
      <p:ext uri="{BB962C8B-B14F-4D97-AF65-F5344CB8AC3E}">
        <p14:creationId xmlns:p14="http://schemas.microsoft.com/office/powerpoint/2010/main" val="9349951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1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57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6" name="Freeform 6"/>
          <p:cNvSpPr>
            <a:spLocks/>
          </p:cNvSpPr>
          <p:nvPr userDrawn="1"/>
        </p:nvSpPr>
        <p:spPr bwMode="auto">
          <a:xfrm>
            <a:off x="0" y="2312"/>
            <a:ext cx="9360442"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50" y="824315"/>
            <a:ext cx="4500650" cy="1830078"/>
          </a:xfrm>
          <a:prstGeom prst="rect">
            <a:avLst/>
          </a:prstGeom>
        </p:spPr>
        <p:txBody>
          <a:bodyPr/>
          <a:lstStyle>
            <a:lvl1pPr>
              <a:defRPr>
                <a:solidFill>
                  <a:schemeClr val="accent2"/>
                </a:solidFill>
              </a:defRPr>
            </a:lvl1pPr>
          </a:lstStyle>
          <a:p>
            <a:r>
              <a:rPr lang="fr-FR" dirty="0"/>
              <a:t>Modifiez le style du titre</a:t>
            </a:r>
            <a:endParaRPr lang="en-GB" dirty="0"/>
          </a:p>
        </p:txBody>
      </p:sp>
      <p:sp>
        <p:nvSpPr>
          <p:cNvPr id="4" name="Espace réservé du texte 3"/>
          <p:cNvSpPr>
            <a:spLocks noGrp="1"/>
          </p:cNvSpPr>
          <p:nvPr>
            <p:ph type="body" sz="quarter" idx="33"/>
          </p:nvPr>
        </p:nvSpPr>
        <p:spPr>
          <a:xfrm>
            <a:off x="5160000" y="2997000"/>
            <a:ext cx="6755775" cy="3492700"/>
          </a:xfr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4830159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9594"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9141670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3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0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7704001" y="5904000"/>
            <a:ext cx="3720000"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837000"/>
            <a:ext cx="6260455" cy="1068388"/>
          </a:xfrm>
          <a:prstGeom prst="rect">
            <a:avLst/>
          </a:prstGeom>
        </p:spPr>
        <p:txBody>
          <a:bodyPr lIns="0" anchor="b"/>
          <a:lstStyle>
            <a:lvl1pPr>
              <a:defRPr sz="4000" b="1">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5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563410"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ct val="100000"/>
              </a:lnSpc>
              <a:defRPr lang="en-US" sz="40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4563410"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8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3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941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3144000" y="832652"/>
            <a:ext cx="8576966"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40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3144000" y="2661446"/>
            <a:ext cx="8576964"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6549693" y="5229000"/>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675598" y="-238558"/>
            <a:ext cx="6941428" cy="7246611"/>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737355135"/>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815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2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1716598"/>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8">
    <p:bg>
      <p:bgPr>
        <a:solidFill>
          <a:schemeClr val="bg1"/>
        </a:solidFill>
        <a:effectLst/>
      </p:bgPr>
    </p:bg>
    <p:spTree>
      <p:nvGrpSpPr>
        <p:cNvPr id="1" name=""/>
        <p:cNvGrpSpPr/>
        <p:nvPr/>
      </p:nvGrpSpPr>
      <p:grpSpPr>
        <a:xfrm>
          <a:off x="0" y="0"/>
          <a:ext cx="0" cy="0"/>
          <a:chOff x="0" y="0"/>
          <a:chExt cx="0" cy="0"/>
        </a:xfrm>
      </p:grpSpPr>
      <p:sp>
        <p:nvSpPr>
          <p:cNvPr id="7" name="Forme libre 6">
            <a:extLst>
              <a:ext uri="{FF2B5EF4-FFF2-40B4-BE49-F238E27FC236}">
                <a16:creationId xmlns:a16="http://schemas.microsoft.com/office/drawing/2014/main" id="{D5B1561B-F5B9-1446-A046-226B16D5D2DB}"/>
              </a:ext>
            </a:extLst>
          </p:cNvPr>
          <p:cNvSpPr/>
          <p:nvPr userDrawn="1"/>
        </p:nvSpPr>
        <p:spPr>
          <a:xfrm>
            <a:off x="0" y="-285003"/>
            <a:ext cx="10176292" cy="7143003"/>
          </a:xfrm>
          <a:custGeom>
            <a:avLst/>
            <a:gdLst>
              <a:gd name="connsiteX0" fmla="*/ 1401477 w 1427755"/>
              <a:gd name="connsiteY0" fmla="*/ 965178 h 965178"/>
              <a:gd name="connsiteX1" fmla="*/ 1424282 w 1427755"/>
              <a:gd name="connsiteY1" fmla="*/ 530674 h 965178"/>
              <a:gd name="connsiteX2" fmla="*/ 71241 w 1427755"/>
              <a:gd name="connsiteY2" fmla="*/ 52678 h 965178"/>
              <a:gd name="connsiteX3" fmla="*/ 0 w 1427755"/>
              <a:gd name="connsiteY3" fmla="*/ 92130 h 965178"/>
              <a:gd name="connsiteX4" fmla="*/ 0 w 1427755"/>
              <a:gd name="connsiteY4" fmla="*/ 965178 h 96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7755" h="965178">
                <a:moveTo>
                  <a:pt x="1401477" y="965178"/>
                </a:moveTo>
                <a:cubicBezTo>
                  <a:pt x="1425331" y="821657"/>
                  <a:pt x="1432980" y="675906"/>
                  <a:pt x="1424282" y="530674"/>
                </a:cubicBezTo>
                <a:cubicBezTo>
                  <a:pt x="1087182" y="439181"/>
                  <a:pt x="581970" y="-182213"/>
                  <a:pt x="71241" y="52678"/>
                </a:cubicBezTo>
                <a:cubicBezTo>
                  <a:pt x="46532" y="64008"/>
                  <a:pt x="22717" y="77197"/>
                  <a:pt x="0" y="92130"/>
                </a:cubicBezTo>
                <a:lnTo>
                  <a:pt x="0" y="965178"/>
                </a:lnTo>
                <a:close/>
              </a:path>
            </a:pathLst>
          </a:custGeom>
          <a:solidFill>
            <a:schemeClr val="accent2"/>
          </a:solidFill>
          <a:ln w="6724" cap="flat">
            <a:noFill/>
            <a:prstDash val="solid"/>
            <a:miter/>
          </a:ln>
        </p:spPr>
        <p:txBody>
          <a:bodyPr rtlCol="0" anchor="ctr"/>
          <a:lstStyle/>
          <a:p>
            <a:endParaRPr lang="fr-FR" sz="2400"/>
          </a:p>
        </p:txBody>
      </p:sp>
      <p:sp>
        <p:nvSpPr>
          <p:cNvPr id="2" name="Titre 1"/>
          <p:cNvSpPr>
            <a:spLocks noGrp="1"/>
          </p:cNvSpPr>
          <p:nvPr>
            <p:ph type="ctrTitle" hasCustomPrompt="1"/>
          </p:nvPr>
        </p:nvSpPr>
        <p:spPr>
          <a:xfrm>
            <a:off x="652306" y="2893729"/>
            <a:ext cx="7622033" cy="1470025"/>
          </a:xfrm>
          <a:prstGeom prst="rect">
            <a:avLst/>
          </a:prstGeom>
        </p:spPr>
        <p:txBody>
          <a:bodyPr lIns="0" tIns="0" rIns="0" bIns="0" anchor="b" anchorCtr="0">
            <a:noAutofit/>
          </a:bodyPr>
          <a:lstStyle>
            <a:lvl1pPr algn="l">
              <a:lnSpc>
                <a:spcPts val="6133"/>
              </a:lnSpc>
              <a:defRPr sz="5400">
                <a:solidFill>
                  <a:schemeClr val="bg1"/>
                </a:solidFill>
              </a:defRPr>
            </a:lvl1pPr>
          </a:lstStyle>
          <a:p>
            <a:r>
              <a:rPr lang="fr-FR" dirty="0"/>
              <a:t>Click to insert </a:t>
            </a:r>
            <a:r>
              <a:rPr lang="fr-FR" dirty="0" err="1"/>
              <a:t>title</a:t>
            </a:r>
            <a:endParaRPr lang="fr-FR" dirty="0"/>
          </a:p>
        </p:txBody>
      </p:sp>
      <p:sp>
        <p:nvSpPr>
          <p:cNvPr id="3" name="Sous-titre 2"/>
          <p:cNvSpPr>
            <a:spLocks noGrp="1"/>
          </p:cNvSpPr>
          <p:nvPr>
            <p:ph type="subTitle" idx="1" hasCustomPrompt="1"/>
          </p:nvPr>
        </p:nvSpPr>
        <p:spPr>
          <a:xfrm>
            <a:off x="652307" y="4653135"/>
            <a:ext cx="7704520" cy="1579641"/>
          </a:xfrm>
          <a:prstGeom prst="rect">
            <a:avLst/>
          </a:prstGeom>
        </p:spPr>
        <p:txBody>
          <a:bodyPr lIns="0" tIns="0" rIns="0" bIns="0"/>
          <a:lstStyle>
            <a:lvl1pPr marL="0" indent="0" algn="l">
              <a:buNone/>
              <a:defRPr b="0"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err="1"/>
              <a:t>Presenter</a:t>
            </a:r>
            <a:r>
              <a:rPr lang="fr-FR" dirty="0"/>
              <a:t>, location and/or date</a:t>
            </a:r>
          </a:p>
        </p:txBody>
      </p:sp>
      <p:grpSp>
        <p:nvGrpSpPr>
          <p:cNvPr id="224" name="Group 14">
            <a:extLst>
              <a:ext uri="{FF2B5EF4-FFF2-40B4-BE49-F238E27FC236}">
                <a16:creationId xmlns:a16="http://schemas.microsoft.com/office/drawing/2014/main" id="{67EA0FC6-F89C-4A09-9C59-9EACFBC2E356}"/>
              </a:ext>
            </a:extLst>
          </p:cNvPr>
          <p:cNvGrpSpPr>
            <a:grpSpLocks noChangeAspect="1"/>
          </p:cNvGrpSpPr>
          <p:nvPr userDrawn="1"/>
        </p:nvGrpSpPr>
        <p:grpSpPr>
          <a:xfrm>
            <a:off x="7392144" y="822797"/>
            <a:ext cx="4320000" cy="963132"/>
            <a:chOff x="728663" y="4465638"/>
            <a:chExt cx="5354637" cy="1193801"/>
          </a:xfrm>
        </p:grpSpPr>
        <p:sp>
          <p:nvSpPr>
            <p:cNvPr id="350" name="Freeform 11">
              <a:extLst>
                <a:ext uri="{FF2B5EF4-FFF2-40B4-BE49-F238E27FC236}">
                  <a16:creationId xmlns:a16="http://schemas.microsoft.com/office/drawing/2014/main" id="{9C6E92E3-57EA-439B-8E74-85979D94BA7D}"/>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1" name="Freeform 12">
              <a:extLst>
                <a:ext uri="{FF2B5EF4-FFF2-40B4-BE49-F238E27FC236}">
                  <a16:creationId xmlns:a16="http://schemas.microsoft.com/office/drawing/2014/main" id="{54544C62-5F63-438B-8674-C626106BC955}"/>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13">
              <a:extLst>
                <a:ext uri="{FF2B5EF4-FFF2-40B4-BE49-F238E27FC236}">
                  <a16:creationId xmlns:a16="http://schemas.microsoft.com/office/drawing/2014/main" id="{ACB0F281-31D2-4D40-9EC3-F45B5A0DE32E}"/>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3" name="Freeform 14">
              <a:extLst>
                <a:ext uri="{FF2B5EF4-FFF2-40B4-BE49-F238E27FC236}">
                  <a16:creationId xmlns:a16="http://schemas.microsoft.com/office/drawing/2014/main" id="{45A0D26B-4722-451E-8415-988B5EBC7FBC}"/>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4" name="Freeform 15">
              <a:extLst>
                <a:ext uri="{FF2B5EF4-FFF2-40B4-BE49-F238E27FC236}">
                  <a16:creationId xmlns:a16="http://schemas.microsoft.com/office/drawing/2014/main" id="{91FCA2B6-66CC-4C95-9AB3-2D4E0D73E337}"/>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414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744391"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Capgemini’s purpose is to unleash human energy through technology for an inclusive and sustainable future. With Altran, the Group reported 2019 combined global revenues of €17 billion. </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265926436"/>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Capgemini’s purpose is to unleash human energy through technology for an inclusive and sustainable future. With Altran, the Group reported 2019 combined global revenues of €17 billion. </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5256045"/>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0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pl-PL" sz="1200" b="1" dirty="0">
                <a:solidFill>
                  <a:schemeClr val="accent1"/>
                </a:solidFill>
                <a:cs typeface="Arial"/>
              </a:rPr>
              <a:t>Tomasz</a:t>
            </a:r>
            <a:r>
              <a:rPr lang="en-US" sz="1200" b="1" dirty="0">
                <a:solidFill>
                  <a:schemeClr val="accent1"/>
                </a:solidFill>
                <a:cs typeface="Arial"/>
              </a:rPr>
              <a:t>, </a:t>
            </a:r>
            <a:r>
              <a:rPr lang="pl-PL" sz="1200" b="1" dirty="0">
                <a:solidFill>
                  <a:schemeClr val="accent1"/>
                </a:solidFill>
                <a:cs typeface="Arial"/>
              </a:rPr>
              <a:t>Strzałka</a:t>
            </a:r>
            <a:endParaRPr lang="en-US" sz="1200" b="1" dirty="0">
              <a:solidFill>
                <a:schemeClr val="accent1"/>
              </a:solidFill>
              <a:cs typeface="Arial"/>
            </a:endParaRPr>
          </a:p>
          <a:p>
            <a:pPr>
              <a:lnSpc>
                <a:spcPts val="1200"/>
              </a:lnSpc>
            </a:pPr>
            <a:r>
              <a:rPr lang="pl-PL" sz="1000" dirty="0">
                <a:solidFill>
                  <a:schemeClr val="accent2"/>
                </a:solidFill>
                <a:cs typeface="Arial"/>
              </a:rPr>
              <a:t>Software Developer</a:t>
            </a:r>
            <a:endParaRPr lang="en-US" sz="1000" dirty="0">
              <a:solidFill>
                <a:schemeClr val="accent2"/>
              </a:solidFill>
              <a:cs typeface="Arial"/>
            </a:endParaRPr>
          </a:p>
          <a:p>
            <a:pPr>
              <a:lnSpc>
                <a:spcPts val="1200"/>
              </a:lnSpc>
            </a:pPr>
            <a:r>
              <a:rPr lang="pl-PL" sz="1000" dirty="0">
                <a:cs typeface="Arial"/>
              </a:rPr>
              <a:t>Business Garden</a:t>
            </a:r>
            <a:endParaRPr lang="en-US" sz="1000" dirty="0">
              <a:cs typeface="Arial"/>
            </a:endParaRPr>
          </a:p>
          <a:p>
            <a:pPr>
              <a:lnSpc>
                <a:spcPts val="1200"/>
              </a:lnSpc>
            </a:pPr>
            <a:r>
              <a:rPr lang="pl-PL" sz="1000" dirty="0">
                <a:cs typeface="Arial"/>
              </a:rPr>
              <a:t>ul. Legnicka 48H</a:t>
            </a:r>
            <a:br>
              <a:rPr lang="pl-PL" sz="1000" dirty="0">
                <a:cs typeface="Arial"/>
              </a:rPr>
            </a:br>
            <a:r>
              <a:rPr lang="pl-PL" sz="1000" dirty="0">
                <a:cs typeface="Arial"/>
              </a:rPr>
              <a:t>54-202 Wrocław</a:t>
            </a:r>
            <a:endParaRPr lang="en-US" sz="1000" dirty="0">
              <a:cs typeface="Arial"/>
            </a:endParaRP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872569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41"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4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70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940770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20.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fr-FR"/>
              <a:t>Modifiez le style du titr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281836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82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858867" y="1927056"/>
            <a:ext cx="9088323" cy="432048"/>
          </a:xfrm>
          <a:prstGeom prst="rect">
            <a:avLst/>
          </a:prstGeom>
        </p:spPr>
        <p:txBody>
          <a:bodyPr anchor="ctr">
            <a:noAutofit/>
          </a:bodyPr>
          <a:lstStyle>
            <a:lvl1pPr>
              <a:lnSpc>
                <a:spcPct val="100000"/>
              </a:lnSpc>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9"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0"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462490"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306971"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151452"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7995933"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id="{266B7D82-19EF-4C8A-8D75-AEA2758E426F}"/>
              </a:ext>
            </a:extLst>
          </p:cNvPr>
          <p:cNvSpPr>
            <a:spLocks noGrp="1"/>
          </p:cNvSpPr>
          <p:nvPr>
            <p:ph type="body" sz="quarter" idx="40" hasCustomPrompt="1"/>
          </p:nvPr>
        </p:nvSpPr>
        <p:spPr>
          <a:xfrm>
            <a:off x="9840416"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 name="Title 1"/>
          <p:cNvSpPr>
            <a:spLocks noGrp="1"/>
          </p:cNvSpPr>
          <p:nvPr>
            <p:ph type="title"/>
          </p:nvPr>
        </p:nvSpPr>
        <p:spPr>
          <a:xfrm>
            <a:off x="227349" y="0"/>
            <a:ext cx="10164880" cy="1104900"/>
          </a:xfrm>
          <a:prstGeom prst="rect">
            <a:avLst/>
          </a:prstGeom>
        </p:spPr>
        <p:txBody>
          <a:bodyPr/>
          <a:lstStyle/>
          <a:p>
            <a:r>
              <a:rPr lang="fr-FR"/>
              <a:t>Modifiez le style du titre</a:t>
            </a:r>
            <a:endParaRPr lang="en-GB" dirty="0"/>
          </a:p>
        </p:txBody>
      </p:sp>
      <p:sp>
        <p:nvSpPr>
          <p:cNvPr id="77840" name="Freeform 16"/>
          <p:cNvSpPr>
            <a:spLocks/>
          </p:cNvSpPr>
          <p:nvPr userDrawn="1"/>
        </p:nvSpPr>
        <p:spPr bwMode="auto">
          <a:xfrm>
            <a:off x="10448711" y="0"/>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858867"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ABE7F41D-73F9-4353-AE3F-71AB8377048D}"/>
              </a:ext>
            </a:extLst>
          </p:cNvPr>
          <p:cNvSpPr>
            <a:spLocks noGrp="1"/>
          </p:cNvSpPr>
          <p:nvPr>
            <p:ph type="body" sz="quarter" idx="41" hasCustomPrompt="1"/>
          </p:nvPr>
        </p:nvSpPr>
        <p:spPr>
          <a:xfrm>
            <a:off x="4028375"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Text Placeholder 7">
            <a:extLst>
              <a:ext uri="{FF2B5EF4-FFF2-40B4-BE49-F238E27FC236}">
                <a16:creationId xmlns:a16="http://schemas.microsoft.com/office/drawing/2014/main" id="{ABE7F41D-73F9-4353-AE3F-71AB8377048D}"/>
              </a:ext>
            </a:extLst>
          </p:cNvPr>
          <p:cNvSpPr>
            <a:spLocks noGrp="1"/>
          </p:cNvSpPr>
          <p:nvPr>
            <p:ph type="body" sz="quarter" idx="42" hasCustomPrompt="1"/>
          </p:nvPr>
        </p:nvSpPr>
        <p:spPr>
          <a:xfrm>
            <a:off x="7197884"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848762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1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vmlDrawing" Target="../drawings/vmlDrawing10.v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image" Target="../media/image1.emf"/><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oleObject" Target="../embeddings/oleObject10.bin"/></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image" Target="../media/image1.emf"/><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oleObject" Target="../embeddings/oleObject13.bin"/><Relationship Id="rId5" Type="http://schemas.openxmlformats.org/officeDocument/2006/relationships/slideLayout" Target="../slideLayouts/slideLayout28.xml"/><Relationship Id="rId10" Type="http://schemas.openxmlformats.org/officeDocument/2006/relationships/tags" Target="../tags/tag21.xml"/><Relationship Id="rId4" Type="http://schemas.openxmlformats.org/officeDocument/2006/relationships/slideLayout" Target="../slideLayouts/slideLayout27.xml"/><Relationship Id="rId9" Type="http://schemas.openxmlformats.org/officeDocument/2006/relationships/vmlDrawing" Target="../drawings/vmlDrawing20.v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oleObject" Target="../embeddings/oleObject20.bin"/><Relationship Id="rId5" Type="http://schemas.openxmlformats.org/officeDocument/2006/relationships/tags" Target="../tags/tag28.xml"/><Relationship Id="rId4" Type="http://schemas.openxmlformats.org/officeDocument/2006/relationships/vmlDrawing" Target="../drawings/vmlDrawing27.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39" name="think-cell Slide" r:id="rId17" imgW="270" imgH="270" progId="TCLayout.ActiveDocument.1">
                  <p:embed/>
                </p:oleObj>
              </mc:Choice>
              <mc:Fallback>
                <p:oleObj name="think-cell Slide" r:id="rId17" imgW="270" imgH="270" progId="TCLayout.ActiveDocument.1">
                  <p:embed/>
                  <p:pic>
                    <p:nvPicPr>
                      <p:cNvPr id="0"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40770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endParaRPr lang="en-US" dirty="0">
              <a:solidFill>
                <a:schemeClr val="accent2"/>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11" name="Groupe 10">
            <a:extLst>
              <a:ext uri="{FF2B5EF4-FFF2-40B4-BE49-F238E27FC236}">
                <a16:creationId xmlns:a16="http://schemas.microsoft.com/office/drawing/2014/main" id="{01121859-F762-419C-9C4A-40A01CD7C49C}"/>
              </a:ext>
            </a:extLst>
          </p:cNvPr>
          <p:cNvGrpSpPr/>
          <p:nvPr userDrawn="1"/>
        </p:nvGrpSpPr>
        <p:grpSpPr>
          <a:xfrm>
            <a:off x="12355040" y="33161"/>
            <a:ext cx="360000" cy="1800000"/>
            <a:chOff x="12355040" y="33161"/>
            <a:chExt cx="360000" cy="1800000"/>
          </a:xfrm>
        </p:grpSpPr>
        <p:sp>
          <p:nvSpPr>
            <p:cNvPr id="12" name="Rectangle 11">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6" name="Rectangle 15">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17" name="Groupe 16">
            <a:extLst>
              <a:ext uri="{FF2B5EF4-FFF2-40B4-BE49-F238E27FC236}">
                <a16:creationId xmlns:a16="http://schemas.microsoft.com/office/drawing/2014/main" id="{EF5AB0F2-6E64-46F0-BD92-6EB0249F7869}"/>
              </a:ext>
            </a:extLst>
          </p:cNvPr>
          <p:cNvGrpSpPr/>
          <p:nvPr userDrawn="1"/>
        </p:nvGrpSpPr>
        <p:grpSpPr>
          <a:xfrm>
            <a:off x="12355040" y="1954479"/>
            <a:ext cx="360000" cy="4875772"/>
            <a:chOff x="12355040" y="1954479"/>
            <a:chExt cx="360000" cy="4875772"/>
          </a:xfrm>
        </p:grpSpPr>
        <p:sp>
          <p:nvSpPr>
            <p:cNvPr id="18" name="Rectangle 17">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9" name="Rectangle 18">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20" name="Rectangle 19">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1" name="Rectangle 30">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2" name="Rectangle 31">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pl-PL" dirty="0" err="1">
                <a:solidFill>
                  <a:schemeClr val="bg1">
                    <a:lumMod val="65000"/>
                  </a:schemeClr>
                </a:solidFill>
              </a:rPr>
              <a:t>Introduction</a:t>
            </a:r>
            <a:r>
              <a:rPr lang="pl-PL" dirty="0">
                <a:solidFill>
                  <a:schemeClr val="bg1">
                    <a:lumMod val="65000"/>
                  </a:schemeClr>
                </a:solidFill>
              </a:rPr>
              <a:t> to </a:t>
            </a:r>
            <a:r>
              <a:rPr lang="pl-PL" dirty="0" err="1">
                <a:solidFill>
                  <a:schemeClr val="bg1">
                    <a:lumMod val="65000"/>
                  </a:schemeClr>
                </a:solidFill>
              </a:rPr>
              <a:t>Blazor</a:t>
            </a:r>
            <a:r>
              <a:rPr lang="pl-PL" dirty="0">
                <a:solidFill>
                  <a:schemeClr val="bg1">
                    <a:lumMod val="65000"/>
                  </a:schemeClr>
                </a:solidFill>
              </a:rPr>
              <a:t> – part 1 </a:t>
            </a:r>
            <a:r>
              <a:rPr lang="en-US" dirty="0">
                <a:solidFill>
                  <a:schemeClr val="bg1">
                    <a:lumMod val="65000"/>
                  </a:schemeClr>
                </a:solidFill>
              </a:rPr>
              <a:t>| </a:t>
            </a:r>
            <a:r>
              <a:rPr lang="pl-PL" dirty="0">
                <a:solidFill>
                  <a:schemeClr val="bg1">
                    <a:lumMod val="65000"/>
                  </a:schemeClr>
                </a:solidFill>
              </a:rPr>
              <a:t>Tomasz Strzałka</a:t>
            </a:r>
            <a:r>
              <a:rPr lang="en-US" dirty="0">
                <a:solidFill>
                  <a:schemeClr val="bg1">
                    <a:lumMod val="65000"/>
                  </a:schemeClr>
                </a:solidFill>
              </a:rPr>
              <a:t> | </a:t>
            </a:r>
            <a:r>
              <a:rPr lang="pl-PL" dirty="0">
                <a:solidFill>
                  <a:schemeClr val="bg1">
                    <a:lumMod val="65000"/>
                  </a:schemeClr>
                </a:solidFill>
              </a:rPr>
              <a:t>04.012.2020</a:t>
            </a:r>
            <a:endParaRPr lang="en-US" dirty="0">
              <a:solidFill>
                <a:schemeClr val="bg1">
                  <a:lumMod val="65000"/>
                </a:schemeClr>
              </a:solidFill>
            </a:endParaRP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3" r:id="rId8"/>
    <p:sldLayoutId id="2147483919" r:id="rId9"/>
    <p:sldLayoutId id="2147483924" r:id="rId10"/>
    <p:sldLayoutId id="2147483925" r:id="rId11"/>
    <p:sldLayoutId id="2147483933" r:id="rId12"/>
    <p:sldLayoutId id="2147483946" r:id="rId1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60" name="think-cell Slide" r:id="rId14" imgW="270" imgH="270" progId="TCLayout.ActiveDocument.1">
                  <p:embed/>
                </p:oleObj>
              </mc:Choice>
              <mc:Fallback>
                <p:oleObj name="think-cell Slide" r:id="rId14" imgW="270" imgH="270" progId="TCLayout.ActiveDocument.1">
                  <p:embed/>
                  <p:pic>
                    <p:nvPicPr>
                      <p:cNvPr id="0" name="Picture 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40770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p>
        </p:txBody>
      </p:sp>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8" name="Groupe 7">
            <a:extLst>
              <a:ext uri="{FF2B5EF4-FFF2-40B4-BE49-F238E27FC236}">
                <a16:creationId xmlns:a16="http://schemas.microsoft.com/office/drawing/2014/main" id="{F6421C34-0A09-46F2-86BC-288CFA416EE6}"/>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3151FA3C-727B-4874-9DE0-A2E0DD894DAE}"/>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431E8439-67F4-4B42-B33E-B870A8B921B3}"/>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8330BDCE-2004-4534-8C99-7231837B319C}"/>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F0A7B28-9053-41D0-A5E7-0F6EF24AB349}"/>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BB84313C-0E77-44B2-AC18-6D8070725E5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945" r:id="rId2"/>
    <p:sldLayoutId id="2147483944" r:id="rId3"/>
    <p:sldLayoutId id="2147483939" r:id="rId4"/>
    <p:sldLayoutId id="2147483876" r:id="rId5"/>
    <p:sldLayoutId id="2147483938" r:id="rId6"/>
    <p:sldLayoutId id="2147483947" r:id="rId7"/>
    <p:sldLayoutId id="2147483948" r:id="rId8"/>
    <p:sldLayoutId id="2147483949" r:id="rId9"/>
    <p:sldLayoutId id="2147483950"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17" name="think-cell Slide" r:id="rId11" imgW="270" imgH="270" progId="TCLayout.ActiveDocument.1">
                  <p:embed/>
                </p:oleObj>
              </mc:Choice>
              <mc:Fallback>
                <p:oleObj name="think-cell Slide" r:id="rId11" imgW="270" imgH="270" progId="TCLayout.ActiveDocument.1">
                  <p:embed/>
                  <p:pic>
                    <p:nvPicPr>
                      <p:cNvPr id="0" name="Picture 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F40BB7E4-8ECC-4C78-AD84-365CCD1BF3BA}"/>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E3744E6B-CB52-459A-B303-28B410FC13B6}"/>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50728129-E1A3-44AD-A94D-EAC3F5A33EC9}"/>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E1D9C6C3-E70E-40BE-9312-BC398A91B9C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39DECA47-208E-41FD-B79D-328EF538D430}"/>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B7BE54DE-F115-407F-8B7F-8C11B9FD4BF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36" r:id="rId5"/>
    <p:sldLayoutId id="2147483932" r:id="rId6"/>
    <p:sldLayoutId id="2147483940" r:id="rId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0430"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9566589"/>
      </p:ext>
    </p:extLst>
  </p:cSld>
  <p:clrMap bg1="lt1" tx1="dk1" bg2="lt2" tx2="dk2" accent1="accent1" accent2="accent2" accent3="accent3" accent4="accent4" accent5="accent5" accent6="accent6" hlink="hlink" folHlink="folHlink"/>
  <p:sldLayoutIdLst>
    <p:sldLayoutId id="2147483942" r:id="rId1"/>
    <p:sldLayoutId id="2147483943"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33.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33.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33.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19.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33.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22.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33.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25.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33.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47.png"/></Relationships>
</file>

<file path=ppt/slides/_rels/slide27.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28.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33.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49.png"/></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28.png"/></Relationships>
</file>

<file path=ppt/slides/_rels/slide3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6.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5.png"/><Relationship Id="rId5" Type="http://schemas.openxmlformats.org/officeDocument/2006/relationships/image" Target="../media/image17.png"/><Relationship Id="rId10" Type="http://schemas.openxmlformats.org/officeDocument/2006/relationships/image" Target="../media/image24.png"/><Relationship Id="rId4" Type="http://schemas.openxmlformats.org/officeDocument/2006/relationships/image" Target="../media/image16.png"/><Relationship Id="rId9" Type="http://schemas.openxmlformats.org/officeDocument/2006/relationships/image" Target="../media/image23.png"/><Relationship Id="rId14" Type="http://schemas.openxmlformats.org/officeDocument/2006/relationships/image" Target="../media/image21.png"/></Relationships>
</file>

<file path=ppt/slides/_rels/slide3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6.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5.png"/><Relationship Id="rId5" Type="http://schemas.openxmlformats.org/officeDocument/2006/relationships/image" Target="../media/image17.png"/><Relationship Id="rId15" Type="http://schemas.openxmlformats.org/officeDocument/2006/relationships/image" Target="../media/image33.png"/><Relationship Id="rId10" Type="http://schemas.openxmlformats.org/officeDocument/2006/relationships/image" Target="../media/image24.png"/><Relationship Id="rId4" Type="http://schemas.openxmlformats.org/officeDocument/2006/relationships/image" Target="../media/image16.png"/><Relationship Id="rId9" Type="http://schemas.openxmlformats.org/officeDocument/2006/relationships/image" Target="../media/image23.png"/><Relationship Id="rId14" Type="http://schemas.openxmlformats.org/officeDocument/2006/relationships/image" Target="../media/image21.png"/></Relationships>
</file>

<file path=ppt/slides/_rels/slide3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51.png"/></Relationships>
</file>

<file path=ppt/slides/_rels/slide3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1.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0.png"/><Relationship Id="rId5" Type="http://schemas.openxmlformats.org/officeDocument/2006/relationships/image" Target="../media/image17.png"/><Relationship Id="rId10" Type="http://schemas.openxmlformats.org/officeDocument/2006/relationships/image" Target="../media/image24.png"/><Relationship Id="rId4" Type="http://schemas.openxmlformats.org/officeDocument/2006/relationships/image" Target="../media/image16.png"/><Relationship Id="rId9" Type="http://schemas.openxmlformats.org/officeDocument/2006/relationships/image" Target="../media/image23.png"/><Relationship Id="rId14" Type="http://schemas.openxmlformats.org/officeDocument/2006/relationships/image" Target="../media/image26.png"/></Relationships>
</file>

<file path=ppt/slides/_rels/slide34.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1.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0.png"/><Relationship Id="rId5" Type="http://schemas.openxmlformats.org/officeDocument/2006/relationships/image" Target="../media/image17.png"/><Relationship Id="rId15" Type="http://schemas.openxmlformats.org/officeDocument/2006/relationships/image" Target="../media/image33.png"/><Relationship Id="rId10" Type="http://schemas.openxmlformats.org/officeDocument/2006/relationships/image" Target="../media/image24.png"/><Relationship Id="rId4" Type="http://schemas.openxmlformats.org/officeDocument/2006/relationships/image" Target="../media/image16.png"/><Relationship Id="rId9" Type="http://schemas.openxmlformats.org/officeDocument/2006/relationships/image" Target="../media/image23.png"/><Relationship Id="rId14" Type="http://schemas.openxmlformats.org/officeDocument/2006/relationships/image" Target="../media/image26.png"/></Relationships>
</file>

<file path=ppt/slides/_rels/slide3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11.xml"/><Relationship Id="rId4" Type="http://schemas.openxmlformats.org/officeDocument/2006/relationships/image" Target="../media/image53.png"/></Relationships>
</file>

<file path=ppt/slides/_rels/slide3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1.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0.png"/><Relationship Id="rId5" Type="http://schemas.openxmlformats.org/officeDocument/2006/relationships/image" Target="../media/image17.png"/><Relationship Id="rId10" Type="http://schemas.openxmlformats.org/officeDocument/2006/relationships/image" Target="../media/image24.png"/><Relationship Id="rId4" Type="http://schemas.openxmlformats.org/officeDocument/2006/relationships/image" Target="../media/image16.png"/><Relationship Id="rId9" Type="http://schemas.openxmlformats.org/officeDocument/2006/relationships/image" Target="../media/image23.png"/><Relationship Id="rId14" Type="http://schemas.openxmlformats.org/officeDocument/2006/relationships/image" Target="../media/image26.png"/></Relationships>
</file>

<file path=ppt/slides/_rels/slide3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1.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0.png"/><Relationship Id="rId5" Type="http://schemas.openxmlformats.org/officeDocument/2006/relationships/image" Target="../media/image17.png"/><Relationship Id="rId15" Type="http://schemas.openxmlformats.org/officeDocument/2006/relationships/image" Target="../media/image33.png"/><Relationship Id="rId10" Type="http://schemas.openxmlformats.org/officeDocument/2006/relationships/image" Target="../media/image24.png"/><Relationship Id="rId4" Type="http://schemas.openxmlformats.org/officeDocument/2006/relationships/image" Target="../media/image16.png"/><Relationship Id="rId9" Type="http://schemas.openxmlformats.org/officeDocument/2006/relationships/image" Target="../media/image23.png"/><Relationship Id="rId14" Type="http://schemas.openxmlformats.org/officeDocument/2006/relationships/image" Target="../media/image26.png"/></Relationships>
</file>

<file path=ppt/slides/_rels/slide3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55.png"/></Relationships>
</file>

<file path=ppt/slides/_rels/slide3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1.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0.png"/><Relationship Id="rId5" Type="http://schemas.openxmlformats.org/officeDocument/2006/relationships/image" Target="../media/image17.png"/><Relationship Id="rId10" Type="http://schemas.openxmlformats.org/officeDocument/2006/relationships/image" Target="../media/image24.png"/><Relationship Id="rId4" Type="http://schemas.openxmlformats.org/officeDocument/2006/relationships/image" Target="../media/image16.png"/><Relationship Id="rId9" Type="http://schemas.openxmlformats.org/officeDocument/2006/relationships/image" Target="../media/image23.png"/><Relationship Id="rId14"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30.png"/></Relationships>
</file>

<file path=ppt/slides/_rels/slide4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1.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0.png"/><Relationship Id="rId5" Type="http://schemas.openxmlformats.org/officeDocument/2006/relationships/image" Target="../media/image17.png"/><Relationship Id="rId15" Type="http://schemas.openxmlformats.org/officeDocument/2006/relationships/image" Target="../media/image33.png"/><Relationship Id="rId10" Type="http://schemas.openxmlformats.org/officeDocument/2006/relationships/image" Target="../media/image24.png"/><Relationship Id="rId4" Type="http://schemas.openxmlformats.org/officeDocument/2006/relationships/image" Target="../media/image16.png"/><Relationship Id="rId9" Type="http://schemas.openxmlformats.org/officeDocument/2006/relationships/image" Target="../media/image23.png"/><Relationship Id="rId14" Type="http://schemas.openxmlformats.org/officeDocument/2006/relationships/image" Target="../media/image26.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33.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35.png"/></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1F40C98-3D8D-4813-9DEB-2B9AF94CBAF1}"/>
              </a:ext>
            </a:extLst>
          </p:cNvPr>
          <p:cNvSpPr>
            <a:spLocks noGrp="1"/>
          </p:cNvSpPr>
          <p:nvPr>
            <p:ph type="body" sz="quarter" idx="11"/>
          </p:nvPr>
        </p:nvSpPr>
        <p:spPr/>
        <p:txBody>
          <a:bodyPr/>
          <a:lstStyle/>
          <a:p>
            <a:r>
              <a:rPr lang="pl-PL" dirty="0" err="1"/>
              <a:t>Introduction</a:t>
            </a:r>
            <a:r>
              <a:rPr lang="pl-PL" dirty="0"/>
              <a:t> to </a:t>
            </a:r>
            <a:r>
              <a:rPr lang="pl-PL" dirty="0" err="1"/>
              <a:t>Blazor</a:t>
            </a:r>
            <a:r>
              <a:rPr lang="pl-PL" dirty="0"/>
              <a:t> – part 1</a:t>
            </a:r>
            <a:endParaRPr lang="en-US" dirty="0"/>
          </a:p>
        </p:txBody>
      </p:sp>
      <p:sp>
        <p:nvSpPr>
          <p:cNvPr id="3" name="Sous-titre 2">
            <a:extLst>
              <a:ext uri="{FF2B5EF4-FFF2-40B4-BE49-F238E27FC236}">
                <a16:creationId xmlns:a16="http://schemas.microsoft.com/office/drawing/2014/main" id="{2BD4255A-097D-4362-88FA-6B70BAEFB722}"/>
              </a:ext>
            </a:extLst>
          </p:cNvPr>
          <p:cNvSpPr>
            <a:spLocks noGrp="1"/>
          </p:cNvSpPr>
          <p:nvPr>
            <p:ph type="subTitle" idx="1"/>
          </p:nvPr>
        </p:nvSpPr>
        <p:spPr/>
        <p:txBody>
          <a:bodyPr/>
          <a:lstStyle/>
          <a:p>
            <a:r>
              <a:rPr lang="pl-PL" dirty="0"/>
              <a:t>Wrocław</a:t>
            </a:r>
            <a:r>
              <a:rPr lang="en-US" dirty="0"/>
              <a:t>, </a:t>
            </a:r>
            <a:r>
              <a:rPr lang="pl-PL" dirty="0"/>
              <a:t>04.12.2020</a:t>
            </a:r>
            <a:r>
              <a:rPr lang="en-US" dirty="0"/>
              <a:t>, </a:t>
            </a:r>
            <a:br>
              <a:rPr lang="pl-PL" dirty="0"/>
            </a:br>
            <a:r>
              <a:rPr lang="pl-PL" dirty="0"/>
              <a:t>Tomasz Strzałka</a:t>
            </a:r>
            <a:endParaRPr lang="en-US" dirty="0"/>
          </a:p>
          <a:p>
            <a:endParaRPr lang="en-US" dirty="0"/>
          </a:p>
        </p:txBody>
      </p:sp>
    </p:spTree>
    <p:extLst>
      <p:ext uri="{BB962C8B-B14F-4D97-AF65-F5344CB8AC3E}">
        <p14:creationId xmlns:p14="http://schemas.microsoft.com/office/powerpoint/2010/main" val="40104140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16" name="Dowolny kształt: kształt 15">
            <a:extLst>
              <a:ext uri="{FF2B5EF4-FFF2-40B4-BE49-F238E27FC236}">
                <a16:creationId xmlns:a16="http://schemas.microsoft.com/office/drawing/2014/main" id="{01C8953A-7711-49B0-BB29-0BDE240DFE2F}"/>
              </a:ext>
            </a:extLst>
          </p:cNvPr>
          <p:cNvSpPr/>
          <p:nvPr/>
        </p:nvSpPr>
        <p:spPr>
          <a:xfrm>
            <a:off x="35088" y="419016"/>
            <a:ext cx="1478214" cy="2439448"/>
          </a:xfrm>
          <a:custGeom>
            <a:avLst/>
            <a:gdLst>
              <a:gd name="connsiteX0" fmla="*/ 41112 w 1478214"/>
              <a:gd name="connsiteY0" fmla="*/ 1733634 h 2439448"/>
              <a:gd name="connsiteX1" fmla="*/ 898362 w 1478214"/>
              <a:gd name="connsiteY1" fmla="*/ 85809 h 2439448"/>
              <a:gd name="connsiteX2" fmla="*/ 1346037 w 1478214"/>
              <a:gd name="connsiteY2" fmla="*/ 266784 h 2439448"/>
              <a:gd name="connsiteX3" fmla="*/ 1393662 w 1478214"/>
              <a:gd name="connsiteY3" fmla="*/ 552534 h 2439448"/>
              <a:gd name="connsiteX4" fmla="*/ 1431762 w 1478214"/>
              <a:gd name="connsiteY4" fmla="*/ 1543134 h 2439448"/>
              <a:gd name="connsiteX5" fmla="*/ 1374612 w 1478214"/>
              <a:gd name="connsiteY5" fmla="*/ 2409909 h 2439448"/>
              <a:gd name="connsiteX6" fmla="*/ 260187 w 1478214"/>
              <a:gd name="connsiteY6" fmla="*/ 2190834 h 2439448"/>
              <a:gd name="connsiteX7" fmla="*/ 41112 w 1478214"/>
              <a:gd name="connsiteY7" fmla="*/ 1733634 h 243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8214" h="2439448">
                <a:moveTo>
                  <a:pt x="41112" y="1733634"/>
                </a:moveTo>
                <a:cubicBezTo>
                  <a:pt x="147474" y="1382797"/>
                  <a:pt x="680875" y="330284"/>
                  <a:pt x="898362" y="85809"/>
                </a:cubicBezTo>
                <a:cubicBezTo>
                  <a:pt x="1115849" y="-158666"/>
                  <a:pt x="1263487" y="188996"/>
                  <a:pt x="1346037" y="266784"/>
                </a:cubicBezTo>
                <a:cubicBezTo>
                  <a:pt x="1428587" y="344571"/>
                  <a:pt x="1379375" y="339809"/>
                  <a:pt x="1393662" y="552534"/>
                </a:cubicBezTo>
                <a:cubicBezTo>
                  <a:pt x="1407949" y="765259"/>
                  <a:pt x="1434937" y="1233572"/>
                  <a:pt x="1431762" y="1543134"/>
                </a:cubicBezTo>
                <a:cubicBezTo>
                  <a:pt x="1428587" y="1852696"/>
                  <a:pt x="1569874" y="2301959"/>
                  <a:pt x="1374612" y="2409909"/>
                </a:cubicBezTo>
                <a:cubicBezTo>
                  <a:pt x="1179350" y="2517859"/>
                  <a:pt x="476087" y="2303547"/>
                  <a:pt x="260187" y="2190834"/>
                </a:cubicBezTo>
                <a:cubicBezTo>
                  <a:pt x="44287" y="2078121"/>
                  <a:pt x="-65250" y="2084471"/>
                  <a:pt x="41112" y="1733634"/>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4" name="Prostokąt 53">
            <a:extLst>
              <a:ext uri="{FF2B5EF4-FFF2-40B4-BE49-F238E27FC236}">
                <a16:creationId xmlns:a16="http://schemas.microsoft.com/office/drawing/2014/main" id="{15D2D26E-FD2C-4479-BE34-B3AE3901882D}"/>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5" name="Prostokąt 54">
            <a:extLst>
              <a:ext uri="{FF2B5EF4-FFF2-40B4-BE49-F238E27FC236}">
                <a16:creationId xmlns:a16="http://schemas.microsoft.com/office/drawing/2014/main" id="{6072A2FB-B0DE-4D12-B7B2-0DA66E00D40E}"/>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6" name="Prostokąt 55">
            <a:extLst>
              <a:ext uri="{FF2B5EF4-FFF2-40B4-BE49-F238E27FC236}">
                <a16:creationId xmlns:a16="http://schemas.microsoft.com/office/drawing/2014/main" id="{3144F875-A1EE-4AF4-BD07-E20ADA0CEB78}"/>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7" name="Obraz 56">
            <a:extLst>
              <a:ext uri="{FF2B5EF4-FFF2-40B4-BE49-F238E27FC236}">
                <a16:creationId xmlns:a16="http://schemas.microsoft.com/office/drawing/2014/main" id="{C2DA1822-8CAB-4D40-8955-A872BDA8760E}"/>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58" name="Obraz 57">
            <a:extLst>
              <a:ext uri="{FF2B5EF4-FFF2-40B4-BE49-F238E27FC236}">
                <a16:creationId xmlns:a16="http://schemas.microsoft.com/office/drawing/2014/main" id="{A5849842-ECF3-46C7-82B8-CB669B722DFB}"/>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59" name="Obraz 58">
            <a:extLst>
              <a:ext uri="{FF2B5EF4-FFF2-40B4-BE49-F238E27FC236}">
                <a16:creationId xmlns:a16="http://schemas.microsoft.com/office/drawing/2014/main" id="{604DC8F9-6E9D-4D07-839D-BD9604AF2652}"/>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60" name="Łącznik prosty ze strzałką 59">
            <a:extLst>
              <a:ext uri="{FF2B5EF4-FFF2-40B4-BE49-F238E27FC236}">
                <a16:creationId xmlns:a16="http://schemas.microsoft.com/office/drawing/2014/main" id="{0E7D1276-04F5-4D38-9022-C96665ED8B89}"/>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1" name="Łącznik prosty ze strzałką 60">
            <a:extLst>
              <a:ext uri="{FF2B5EF4-FFF2-40B4-BE49-F238E27FC236}">
                <a16:creationId xmlns:a16="http://schemas.microsoft.com/office/drawing/2014/main" id="{0242042D-C097-49FF-99F8-317B3DB6533E}"/>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2" name="Łącznik prosty ze strzałką 61">
            <a:extLst>
              <a:ext uri="{FF2B5EF4-FFF2-40B4-BE49-F238E27FC236}">
                <a16:creationId xmlns:a16="http://schemas.microsoft.com/office/drawing/2014/main" id="{DD0FB48B-69BD-456D-80EE-733699C1D2C1}"/>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3" name="Łącznik prosty ze strzałką 62">
            <a:extLst>
              <a:ext uri="{FF2B5EF4-FFF2-40B4-BE49-F238E27FC236}">
                <a16:creationId xmlns:a16="http://schemas.microsoft.com/office/drawing/2014/main" id="{1AAFE6BB-1528-401D-AEBA-DC58F62FBA56}"/>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pic>
        <p:nvPicPr>
          <p:cNvPr id="70" name="Obraz 69">
            <a:extLst>
              <a:ext uri="{FF2B5EF4-FFF2-40B4-BE49-F238E27FC236}">
                <a16:creationId xmlns:a16="http://schemas.microsoft.com/office/drawing/2014/main" id="{8F34F655-859E-44FE-80A1-44E817180C91}"/>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71" name="Obraz 70">
            <a:extLst>
              <a:ext uri="{FF2B5EF4-FFF2-40B4-BE49-F238E27FC236}">
                <a16:creationId xmlns:a16="http://schemas.microsoft.com/office/drawing/2014/main" id="{7B43AA61-007F-4B85-8CC6-034F7CAC0CD4}"/>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17" name="Dowolny kształt: kształt 16">
            <a:extLst>
              <a:ext uri="{FF2B5EF4-FFF2-40B4-BE49-F238E27FC236}">
                <a16:creationId xmlns:a16="http://schemas.microsoft.com/office/drawing/2014/main" id="{AFBD19A8-A097-4DD4-A389-E0BC8E3C573F}"/>
              </a:ext>
            </a:extLst>
          </p:cNvPr>
          <p:cNvSpPr/>
          <p:nvPr/>
        </p:nvSpPr>
        <p:spPr>
          <a:xfrm>
            <a:off x="3963577" y="276669"/>
            <a:ext cx="8107038" cy="6420222"/>
          </a:xfrm>
          <a:custGeom>
            <a:avLst/>
            <a:gdLst>
              <a:gd name="connsiteX0" fmla="*/ 451318 w 8107038"/>
              <a:gd name="connsiteY0" fmla="*/ 5393891 h 6420222"/>
              <a:gd name="connsiteX1" fmla="*/ 3643 w 8107038"/>
              <a:gd name="connsiteY1" fmla="*/ 5984441 h 6420222"/>
              <a:gd name="connsiteX2" fmla="*/ 718018 w 8107038"/>
              <a:gd name="connsiteY2" fmla="*/ 6336866 h 6420222"/>
              <a:gd name="connsiteX3" fmla="*/ 3346918 w 8107038"/>
              <a:gd name="connsiteY3" fmla="*/ 6317816 h 6420222"/>
              <a:gd name="connsiteX4" fmla="*/ 6642568 w 8107038"/>
              <a:gd name="connsiteY4" fmla="*/ 6336866 h 6420222"/>
              <a:gd name="connsiteX5" fmla="*/ 7937968 w 8107038"/>
              <a:gd name="connsiteY5" fmla="*/ 6384491 h 6420222"/>
              <a:gd name="connsiteX6" fmla="*/ 8090368 w 8107038"/>
              <a:gd name="connsiteY6" fmla="*/ 5746316 h 6420222"/>
              <a:gd name="connsiteX7" fmla="*/ 7928443 w 8107038"/>
              <a:gd name="connsiteY7" fmla="*/ 4460441 h 6420222"/>
              <a:gd name="connsiteX8" fmla="*/ 8023693 w 8107038"/>
              <a:gd name="connsiteY8" fmla="*/ 2717366 h 6420222"/>
              <a:gd name="connsiteX9" fmla="*/ 8004643 w 8107038"/>
              <a:gd name="connsiteY9" fmla="*/ 1355291 h 6420222"/>
              <a:gd name="connsiteX10" fmla="*/ 6985468 w 8107038"/>
              <a:gd name="connsiteY10" fmla="*/ 593291 h 6420222"/>
              <a:gd name="connsiteX11" fmla="*/ 4909018 w 8107038"/>
              <a:gd name="connsiteY11" fmla="*/ 21791 h 6420222"/>
              <a:gd name="connsiteX12" fmla="*/ 3146893 w 8107038"/>
              <a:gd name="connsiteY12" fmla="*/ 164666 h 6420222"/>
              <a:gd name="connsiteX13" fmla="*/ 1794343 w 8107038"/>
              <a:gd name="connsiteY13" fmla="*/ 593291 h 6420222"/>
              <a:gd name="connsiteX14" fmla="*/ 1165693 w 8107038"/>
              <a:gd name="connsiteY14" fmla="*/ 2193491 h 6420222"/>
              <a:gd name="connsiteX15" fmla="*/ 822793 w 8107038"/>
              <a:gd name="connsiteY15" fmla="*/ 5146241 h 6420222"/>
              <a:gd name="connsiteX16" fmla="*/ 708493 w 8107038"/>
              <a:gd name="connsiteY16" fmla="*/ 5346266 h 6420222"/>
              <a:gd name="connsiteX17" fmla="*/ 451318 w 8107038"/>
              <a:gd name="connsiteY17" fmla="*/ 5393891 h 6420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07038" h="6420222">
                <a:moveTo>
                  <a:pt x="451318" y="5393891"/>
                </a:moveTo>
                <a:cubicBezTo>
                  <a:pt x="333843" y="5500254"/>
                  <a:pt x="-40807" y="5827279"/>
                  <a:pt x="3643" y="5984441"/>
                </a:cubicBezTo>
                <a:cubicBezTo>
                  <a:pt x="48093" y="6141603"/>
                  <a:pt x="160806" y="6281304"/>
                  <a:pt x="718018" y="6336866"/>
                </a:cubicBezTo>
                <a:cubicBezTo>
                  <a:pt x="1275230" y="6392428"/>
                  <a:pt x="3346918" y="6317816"/>
                  <a:pt x="3346918" y="6317816"/>
                </a:cubicBezTo>
                <a:lnTo>
                  <a:pt x="6642568" y="6336866"/>
                </a:lnTo>
                <a:cubicBezTo>
                  <a:pt x="7407743" y="6347979"/>
                  <a:pt x="7696668" y="6482916"/>
                  <a:pt x="7937968" y="6384491"/>
                </a:cubicBezTo>
                <a:cubicBezTo>
                  <a:pt x="8179268" y="6286066"/>
                  <a:pt x="8091955" y="6066991"/>
                  <a:pt x="8090368" y="5746316"/>
                </a:cubicBezTo>
                <a:cubicBezTo>
                  <a:pt x="8088781" y="5425641"/>
                  <a:pt x="7939556" y="4965266"/>
                  <a:pt x="7928443" y="4460441"/>
                </a:cubicBezTo>
                <a:cubicBezTo>
                  <a:pt x="7917331" y="3955616"/>
                  <a:pt x="8010993" y="3234891"/>
                  <a:pt x="8023693" y="2717366"/>
                </a:cubicBezTo>
                <a:cubicBezTo>
                  <a:pt x="8036393" y="2199841"/>
                  <a:pt x="8177681" y="1709304"/>
                  <a:pt x="8004643" y="1355291"/>
                </a:cubicBezTo>
                <a:cubicBezTo>
                  <a:pt x="7831605" y="1001278"/>
                  <a:pt x="7501406" y="815541"/>
                  <a:pt x="6985468" y="593291"/>
                </a:cubicBezTo>
                <a:cubicBezTo>
                  <a:pt x="6469531" y="371041"/>
                  <a:pt x="5548780" y="93228"/>
                  <a:pt x="4909018" y="21791"/>
                </a:cubicBezTo>
                <a:cubicBezTo>
                  <a:pt x="4269256" y="-49646"/>
                  <a:pt x="3666005" y="69416"/>
                  <a:pt x="3146893" y="164666"/>
                </a:cubicBezTo>
                <a:cubicBezTo>
                  <a:pt x="2627781" y="259916"/>
                  <a:pt x="2124543" y="255153"/>
                  <a:pt x="1794343" y="593291"/>
                </a:cubicBezTo>
                <a:cubicBezTo>
                  <a:pt x="1464143" y="931428"/>
                  <a:pt x="1327618" y="1434666"/>
                  <a:pt x="1165693" y="2193491"/>
                </a:cubicBezTo>
                <a:cubicBezTo>
                  <a:pt x="1003768" y="2952316"/>
                  <a:pt x="898993" y="4620779"/>
                  <a:pt x="822793" y="5146241"/>
                </a:cubicBezTo>
                <a:cubicBezTo>
                  <a:pt x="746593" y="5671703"/>
                  <a:pt x="765643" y="5301816"/>
                  <a:pt x="708493" y="5346266"/>
                </a:cubicBezTo>
                <a:cubicBezTo>
                  <a:pt x="651343" y="5390716"/>
                  <a:pt x="568793" y="5287528"/>
                  <a:pt x="451318" y="5393891"/>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6" name="pole tekstowe 45">
            <a:extLst>
              <a:ext uri="{FF2B5EF4-FFF2-40B4-BE49-F238E27FC236}">
                <a16:creationId xmlns:a16="http://schemas.microsoft.com/office/drawing/2014/main" id="{AEFDCDC9-CDAE-403D-BE08-9A28CF2B2B31}"/>
              </a:ext>
            </a:extLst>
          </p:cNvPr>
          <p:cNvSpPr txBox="1"/>
          <p:nvPr/>
        </p:nvSpPr>
        <p:spPr>
          <a:xfrm>
            <a:off x="6830215" y="2484264"/>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Nested components</a:t>
            </a:r>
          </a:p>
        </p:txBody>
      </p:sp>
      <p:sp>
        <p:nvSpPr>
          <p:cNvPr id="47" name="pole tekstowe 46">
            <a:extLst>
              <a:ext uri="{FF2B5EF4-FFF2-40B4-BE49-F238E27FC236}">
                <a16:creationId xmlns:a16="http://schemas.microsoft.com/office/drawing/2014/main" id="{158A0D2D-2E4E-48AC-A6AD-4F2730164DD4}"/>
              </a:ext>
            </a:extLst>
          </p:cNvPr>
          <p:cNvSpPr txBox="1"/>
          <p:nvPr/>
        </p:nvSpPr>
        <p:spPr>
          <a:xfrm>
            <a:off x="7330264" y="3128891"/>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Partial classes</a:t>
            </a:r>
          </a:p>
        </p:txBody>
      </p:sp>
      <p:sp>
        <p:nvSpPr>
          <p:cNvPr id="48" name="pole tekstowe 47">
            <a:extLst>
              <a:ext uri="{FF2B5EF4-FFF2-40B4-BE49-F238E27FC236}">
                <a16:creationId xmlns:a16="http://schemas.microsoft.com/office/drawing/2014/main" id="{DF8A03FF-B7B9-4E0F-9BB3-D0A683B9CC44}"/>
              </a:ext>
            </a:extLst>
          </p:cNvPr>
          <p:cNvSpPr txBox="1"/>
          <p:nvPr/>
        </p:nvSpPr>
        <p:spPr>
          <a:xfrm>
            <a:off x="7762264" y="3771814"/>
            <a:ext cx="3596049" cy="369332"/>
          </a:xfrm>
          <a:prstGeom prst="rect">
            <a:avLst/>
          </a:prstGeom>
          <a:noFill/>
        </p:spPr>
        <p:txBody>
          <a:bodyPr wrap="square" rtlCol="0">
            <a:spAutoFit/>
          </a:bodyPr>
          <a:lstStyle/>
          <a:p>
            <a:pPr marL="285750" indent="-285750">
              <a:buBlip>
                <a:blip r:embed="rId15"/>
              </a:buBlip>
            </a:pPr>
            <a:r>
              <a:rPr lang="en-US" dirty="0" err="1">
                <a:solidFill>
                  <a:srgbClr val="5C2D91"/>
                </a:solidFill>
                <a:latin typeface="Ubuntu" panose="020B0804030602030204" pitchFamily="34" charset="0"/>
              </a:rPr>
              <a:t>Blazor</a:t>
            </a:r>
            <a:r>
              <a:rPr lang="en-US" dirty="0">
                <a:solidFill>
                  <a:srgbClr val="5C2D91"/>
                </a:solidFill>
                <a:latin typeface="Ubuntu" panose="020B0804030602030204" pitchFamily="34" charset="0"/>
              </a:rPr>
              <a:t> directives</a:t>
            </a:r>
          </a:p>
        </p:txBody>
      </p:sp>
      <p:sp>
        <p:nvSpPr>
          <p:cNvPr id="49" name="pole tekstowe 48">
            <a:extLst>
              <a:ext uri="{FF2B5EF4-FFF2-40B4-BE49-F238E27FC236}">
                <a16:creationId xmlns:a16="http://schemas.microsoft.com/office/drawing/2014/main" id="{236C535B-C46B-49D1-903D-DA14D29F6DC8}"/>
              </a:ext>
            </a:extLst>
          </p:cNvPr>
          <p:cNvSpPr txBox="1"/>
          <p:nvPr/>
        </p:nvSpPr>
        <p:spPr>
          <a:xfrm>
            <a:off x="8233465" y="4414737"/>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Namespace hierarchy</a:t>
            </a:r>
          </a:p>
        </p:txBody>
      </p:sp>
      <p:sp>
        <p:nvSpPr>
          <p:cNvPr id="50" name="pole tekstowe 49">
            <a:extLst>
              <a:ext uri="{FF2B5EF4-FFF2-40B4-BE49-F238E27FC236}">
                <a16:creationId xmlns:a16="http://schemas.microsoft.com/office/drawing/2014/main" id="{C437B2ED-4A17-44ED-8AFB-58B731395A65}"/>
              </a:ext>
            </a:extLst>
          </p:cNvPr>
          <p:cNvSpPr txBox="1"/>
          <p:nvPr/>
        </p:nvSpPr>
        <p:spPr>
          <a:xfrm>
            <a:off x="7372179" y="5066152"/>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Library components</a:t>
            </a:r>
          </a:p>
        </p:txBody>
      </p:sp>
      <p:sp>
        <p:nvSpPr>
          <p:cNvPr id="51" name="pole tekstowe 50">
            <a:extLst>
              <a:ext uri="{FF2B5EF4-FFF2-40B4-BE49-F238E27FC236}">
                <a16:creationId xmlns:a16="http://schemas.microsoft.com/office/drawing/2014/main" id="{71AE6180-09CD-4A19-A9C3-362A2E08F514}"/>
              </a:ext>
            </a:extLst>
          </p:cNvPr>
          <p:cNvSpPr txBox="1"/>
          <p:nvPr/>
        </p:nvSpPr>
        <p:spPr>
          <a:xfrm>
            <a:off x="7843380" y="5709075"/>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Component parameters</a:t>
            </a:r>
          </a:p>
        </p:txBody>
      </p:sp>
    </p:spTree>
    <p:extLst>
      <p:ext uri="{BB962C8B-B14F-4D97-AF65-F5344CB8AC3E}">
        <p14:creationId xmlns:p14="http://schemas.microsoft.com/office/powerpoint/2010/main" val="17574860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2">
            <a:extLst>
              <a:ext uri="{FF2B5EF4-FFF2-40B4-BE49-F238E27FC236}">
                <a16:creationId xmlns:a16="http://schemas.microsoft.com/office/drawing/2014/main" id="{576F486B-D184-4F89-8B2C-6ABF4836A0C8}"/>
              </a:ext>
            </a:extLst>
          </p:cNvPr>
          <p:cNvSpPr>
            <a:spLocks noGrp="1"/>
          </p:cNvSpPr>
          <p:nvPr>
            <p:ph type="title"/>
          </p:nvPr>
        </p:nvSpPr>
        <p:spPr>
          <a:xfrm>
            <a:off x="7032000" y="1341000"/>
            <a:ext cx="4500650" cy="1830078"/>
          </a:xfrm>
        </p:spPr>
        <p:txBody>
          <a:bodyPr/>
          <a:lstStyle/>
          <a:p>
            <a:pPr algn="ctr"/>
            <a:r>
              <a:rPr lang="pl-PL" sz="4000" dirty="0">
                <a:solidFill>
                  <a:srgbClr val="0070AD"/>
                </a:solidFill>
                <a:latin typeface="Ubuntu" panose="020B0804030602030204" pitchFamily="34" charset="0"/>
              </a:rPr>
              <a:t>Demo #0</a:t>
            </a:r>
            <a:r>
              <a:rPr lang="en-US" sz="4000" dirty="0">
                <a:solidFill>
                  <a:srgbClr val="0070AD"/>
                </a:solidFill>
                <a:latin typeface="Ubuntu" panose="020B0804030602030204" pitchFamily="34" charset="0"/>
              </a:rPr>
              <a:t>3</a:t>
            </a:r>
            <a:endParaRPr lang="en-GB" sz="4000" dirty="0">
              <a:solidFill>
                <a:srgbClr val="0070AD"/>
              </a:solidFill>
              <a:latin typeface="Ubuntu" panose="020B0804030602030204" pitchFamily="34" charset="0"/>
            </a:endParaRPr>
          </a:p>
        </p:txBody>
      </p:sp>
      <p:sp>
        <p:nvSpPr>
          <p:cNvPr id="14" name="Freeform 90">
            <a:extLst>
              <a:ext uri="{FF2B5EF4-FFF2-40B4-BE49-F238E27FC236}">
                <a16:creationId xmlns:a16="http://schemas.microsoft.com/office/drawing/2014/main" id="{85E56DE9-F514-44DC-B420-80636728A394}"/>
              </a:ext>
            </a:extLst>
          </p:cNvPr>
          <p:cNvSpPr>
            <a:spLocks/>
          </p:cNvSpPr>
          <p:nvPr/>
        </p:nvSpPr>
        <p:spPr bwMode="auto">
          <a:xfrm>
            <a:off x="7592873" y="1802137"/>
            <a:ext cx="46226" cy="70039"/>
          </a:xfrm>
          <a:custGeom>
            <a:avLst/>
            <a:gdLst>
              <a:gd name="T0" fmla="*/ 0 w 14"/>
              <a:gd name="T1" fmla="*/ 0 h 21"/>
              <a:gd name="T2" fmla="*/ 0 w 14"/>
              <a:gd name="T3" fmla="*/ 20 h 21"/>
              <a:gd name="T4" fmla="*/ 14 w 14"/>
              <a:gd name="T5" fmla="*/ 21 h 21"/>
              <a:gd name="T6" fmla="*/ 14 w 14"/>
              <a:gd name="T7" fmla="*/ 0 h 21"/>
              <a:gd name="T8" fmla="*/ 0 w 14"/>
              <a:gd name="T9" fmla="*/ 0 h 21"/>
            </a:gdLst>
            <a:ahLst/>
            <a:cxnLst>
              <a:cxn ang="0">
                <a:pos x="T0" y="T1"/>
              </a:cxn>
              <a:cxn ang="0">
                <a:pos x="T2" y="T3"/>
              </a:cxn>
              <a:cxn ang="0">
                <a:pos x="T4" y="T5"/>
              </a:cxn>
              <a:cxn ang="0">
                <a:pos x="T6" y="T7"/>
              </a:cxn>
              <a:cxn ang="0">
                <a:pos x="T8" y="T9"/>
              </a:cxn>
            </a:cxnLst>
            <a:rect l="0" t="0" r="r" b="b"/>
            <a:pathLst>
              <a:path w="14" h="21">
                <a:moveTo>
                  <a:pt x="0" y="0"/>
                </a:moveTo>
                <a:cubicBezTo>
                  <a:pt x="0" y="20"/>
                  <a:pt x="0" y="20"/>
                  <a:pt x="0" y="20"/>
                </a:cubicBezTo>
                <a:cubicBezTo>
                  <a:pt x="5" y="20"/>
                  <a:pt x="9" y="21"/>
                  <a:pt x="14" y="21"/>
                </a:cubicBezTo>
                <a:cubicBezTo>
                  <a:pt x="14" y="0"/>
                  <a:pt x="14" y="0"/>
                  <a:pt x="1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3" name="Obraz 2">
            <a:extLst>
              <a:ext uri="{FF2B5EF4-FFF2-40B4-BE49-F238E27FC236}">
                <a16:creationId xmlns:a16="http://schemas.microsoft.com/office/drawing/2014/main" id="{7EBA6194-7B53-401E-AF1A-34AA45581686}"/>
              </a:ext>
            </a:extLst>
          </p:cNvPr>
          <p:cNvPicPr>
            <a:picLocks noChangeAspect="1"/>
          </p:cNvPicPr>
          <p:nvPr/>
        </p:nvPicPr>
        <p:blipFill>
          <a:blip r:embed="rId3"/>
          <a:stretch>
            <a:fillRect/>
          </a:stretch>
        </p:blipFill>
        <p:spPr>
          <a:xfrm>
            <a:off x="4656000" y="4221000"/>
            <a:ext cx="2209800" cy="2209800"/>
          </a:xfrm>
          <a:prstGeom prst="rect">
            <a:avLst/>
          </a:prstGeom>
        </p:spPr>
      </p:pic>
      <p:pic>
        <p:nvPicPr>
          <p:cNvPr id="4" name="Obraz 3">
            <a:extLst>
              <a:ext uri="{FF2B5EF4-FFF2-40B4-BE49-F238E27FC236}">
                <a16:creationId xmlns:a16="http://schemas.microsoft.com/office/drawing/2014/main" id="{4186FFC4-76D0-43D2-A197-F0552E8FF3A0}"/>
              </a:ext>
            </a:extLst>
          </p:cNvPr>
          <p:cNvPicPr>
            <a:picLocks noChangeAspect="1"/>
          </p:cNvPicPr>
          <p:nvPr/>
        </p:nvPicPr>
        <p:blipFill>
          <a:blip r:embed="rId4">
            <a:clrChange>
              <a:clrFrom>
                <a:srgbClr val="ECECEC"/>
              </a:clrFrom>
              <a:clrTo>
                <a:srgbClr val="ECECEC">
                  <a:alpha val="0"/>
                </a:srgbClr>
              </a:clrTo>
            </a:clrChange>
          </a:blip>
          <a:stretch>
            <a:fillRect/>
          </a:stretch>
        </p:blipFill>
        <p:spPr>
          <a:xfrm>
            <a:off x="9552000" y="4221000"/>
            <a:ext cx="2305050" cy="2305050"/>
          </a:xfrm>
          <a:prstGeom prst="rect">
            <a:avLst/>
          </a:prstGeom>
        </p:spPr>
      </p:pic>
      <p:grpSp>
        <p:nvGrpSpPr>
          <p:cNvPr id="18" name="Groupe 317">
            <a:extLst>
              <a:ext uri="{FF2B5EF4-FFF2-40B4-BE49-F238E27FC236}">
                <a16:creationId xmlns:a16="http://schemas.microsoft.com/office/drawing/2014/main" id="{E8EF4D2A-8364-459E-B845-8B7FFB940706}"/>
              </a:ext>
            </a:extLst>
          </p:cNvPr>
          <p:cNvGrpSpPr/>
          <p:nvPr/>
        </p:nvGrpSpPr>
        <p:grpSpPr>
          <a:xfrm>
            <a:off x="7543635" y="1747827"/>
            <a:ext cx="419364" cy="336439"/>
            <a:chOff x="2133600" y="455613"/>
            <a:chExt cx="561975" cy="450850"/>
          </a:xfrm>
        </p:grpSpPr>
        <p:sp>
          <p:nvSpPr>
            <p:cNvPr id="19" name="Freeform 452">
              <a:extLst>
                <a:ext uri="{FF2B5EF4-FFF2-40B4-BE49-F238E27FC236}">
                  <a16:creationId xmlns:a16="http://schemas.microsoft.com/office/drawing/2014/main" id="{E8761E17-04A7-4B80-9596-CECE8449C212}"/>
                </a:ext>
              </a:extLst>
            </p:cNvPr>
            <p:cNvSpPr>
              <a:spLocks/>
            </p:cNvSpPr>
            <p:nvPr/>
          </p:nvSpPr>
          <p:spPr bwMode="auto">
            <a:xfrm>
              <a:off x="2133600" y="839788"/>
              <a:ext cx="88900" cy="66675"/>
            </a:xfrm>
            <a:custGeom>
              <a:avLst/>
              <a:gdLst>
                <a:gd name="T0" fmla="*/ 21 w 24"/>
                <a:gd name="T1" fmla="*/ 0 h 18"/>
                <a:gd name="T2" fmla="*/ 24 w 24"/>
                <a:gd name="T3" fmla="*/ 4 h 18"/>
                <a:gd name="T4" fmla="*/ 24 w 24"/>
                <a:gd name="T5" fmla="*/ 16 h 18"/>
                <a:gd name="T6" fmla="*/ 21 w 24"/>
                <a:gd name="T7" fmla="*/ 18 h 18"/>
                <a:gd name="T8" fmla="*/ 2 w 24"/>
                <a:gd name="T9" fmla="*/ 18 h 18"/>
                <a:gd name="T10" fmla="*/ 0 w 24"/>
                <a:gd name="T11" fmla="*/ 16 h 18"/>
                <a:gd name="T12" fmla="*/ 0 w 24"/>
                <a:gd name="T13" fmla="*/ 4 h 18"/>
                <a:gd name="T14" fmla="*/ 2 w 24"/>
                <a:gd name="T15" fmla="*/ 0 h 18"/>
                <a:gd name="T16" fmla="*/ 21 w 24"/>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8">
                  <a:moveTo>
                    <a:pt x="21" y="0"/>
                  </a:moveTo>
                  <a:cubicBezTo>
                    <a:pt x="23" y="0"/>
                    <a:pt x="24" y="2"/>
                    <a:pt x="24" y="4"/>
                  </a:cubicBezTo>
                  <a:cubicBezTo>
                    <a:pt x="24" y="16"/>
                    <a:pt x="24" y="16"/>
                    <a:pt x="24" y="16"/>
                  </a:cubicBezTo>
                  <a:cubicBezTo>
                    <a:pt x="24" y="16"/>
                    <a:pt x="23" y="18"/>
                    <a:pt x="21" y="18"/>
                  </a:cubicBezTo>
                  <a:cubicBezTo>
                    <a:pt x="2" y="18"/>
                    <a:pt x="2" y="18"/>
                    <a:pt x="2" y="18"/>
                  </a:cubicBezTo>
                  <a:cubicBezTo>
                    <a:pt x="0" y="18"/>
                    <a:pt x="0" y="16"/>
                    <a:pt x="0" y="16"/>
                  </a:cubicBezTo>
                  <a:cubicBezTo>
                    <a:pt x="0" y="4"/>
                    <a:pt x="0" y="4"/>
                    <a:pt x="0" y="4"/>
                  </a:cubicBezTo>
                  <a:cubicBezTo>
                    <a:pt x="0" y="2"/>
                    <a:pt x="0" y="0"/>
                    <a:pt x="2" y="0"/>
                  </a:cubicBezTo>
                  <a:lnTo>
                    <a:pt x="21" y="0"/>
                  </a:lnTo>
                  <a:close/>
                </a:path>
              </a:pathLst>
            </a:custGeom>
            <a:solidFill>
              <a:srgbClr val="FF7E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453">
              <a:extLst>
                <a:ext uri="{FF2B5EF4-FFF2-40B4-BE49-F238E27FC236}">
                  <a16:creationId xmlns:a16="http://schemas.microsoft.com/office/drawing/2014/main" id="{3A2CC62C-8A1E-4743-9C56-D2B70E109F50}"/>
                </a:ext>
              </a:extLst>
            </p:cNvPr>
            <p:cNvSpPr>
              <a:spLocks/>
            </p:cNvSpPr>
            <p:nvPr/>
          </p:nvSpPr>
          <p:spPr bwMode="auto">
            <a:xfrm>
              <a:off x="2357438" y="839788"/>
              <a:ext cx="101600" cy="66675"/>
            </a:xfrm>
            <a:custGeom>
              <a:avLst/>
              <a:gdLst>
                <a:gd name="T0" fmla="*/ 25 w 27"/>
                <a:gd name="T1" fmla="*/ 0 h 18"/>
                <a:gd name="T2" fmla="*/ 27 w 27"/>
                <a:gd name="T3" fmla="*/ 4 h 18"/>
                <a:gd name="T4" fmla="*/ 27 w 27"/>
                <a:gd name="T5" fmla="*/ 16 h 18"/>
                <a:gd name="T6" fmla="*/ 25 w 27"/>
                <a:gd name="T7" fmla="*/ 18 h 18"/>
                <a:gd name="T8" fmla="*/ 4 w 27"/>
                <a:gd name="T9" fmla="*/ 18 h 18"/>
                <a:gd name="T10" fmla="*/ 0 w 27"/>
                <a:gd name="T11" fmla="*/ 16 h 18"/>
                <a:gd name="T12" fmla="*/ 0 w 27"/>
                <a:gd name="T13" fmla="*/ 4 h 18"/>
                <a:gd name="T14" fmla="*/ 4 w 27"/>
                <a:gd name="T15" fmla="*/ 0 h 18"/>
                <a:gd name="T16" fmla="*/ 25 w 2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8">
                  <a:moveTo>
                    <a:pt x="25" y="0"/>
                  </a:moveTo>
                  <a:cubicBezTo>
                    <a:pt x="27" y="0"/>
                    <a:pt x="27" y="2"/>
                    <a:pt x="27" y="4"/>
                  </a:cubicBezTo>
                  <a:cubicBezTo>
                    <a:pt x="27" y="16"/>
                    <a:pt x="27" y="16"/>
                    <a:pt x="27" y="16"/>
                  </a:cubicBezTo>
                  <a:cubicBezTo>
                    <a:pt x="27" y="16"/>
                    <a:pt x="27" y="18"/>
                    <a:pt x="25" y="18"/>
                  </a:cubicBezTo>
                  <a:cubicBezTo>
                    <a:pt x="4" y="18"/>
                    <a:pt x="4" y="18"/>
                    <a:pt x="4" y="18"/>
                  </a:cubicBezTo>
                  <a:cubicBezTo>
                    <a:pt x="2" y="18"/>
                    <a:pt x="0" y="16"/>
                    <a:pt x="0" y="16"/>
                  </a:cubicBezTo>
                  <a:cubicBezTo>
                    <a:pt x="0" y="4"/>
                    <a:pt x="0" y="4"/>
                    <a:pt x="0" y="4"/>
                  </a:cubicBezTo>
                  <a:cubicBezTo>
                    <a:pt x="0" y="2"/>
                    <a:pt x="2" y="0"/>
                    <a:pt x="4" y="0"/>
                  </a:cubicBezTo>
                  <a:lnTo>
                    <a:pt x="25" y="0"/>
                  </a:lnTo>
                  <a:close/>
                </a:path>
              </a:pathLst>
            </a:custGeom>
            <a:solidFill>
              <a:srgbClr val="88D5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454">
              <a:extLst>
                <a:ext uri="{FF2B5EF4-FFF2-40B4-BE49-F238E27FC236}">
                  <a16:creationId xmlns:a16="http://schemas.microsoft.com/office/drawing/2014/main" id="{831DE8C4-1867-450E-81DA-33775172D23F}"/>
                </a:ext>
              </a:extLst>
            </p:cNvPr>
            <p:cNvSpPr>
              <a:spLocks/>
            </p:cNvSpPr>
            <p:nvPr/>
          </p:nvSpPr>
          <p:spPr bwMode="auto">
            <a:xfrm>
              <a:off x="2593975" y="839788"/>
              <a:ext cx="101600" cy="66675"/>
            </a:xfrm>
            <a:custGeom>
              <a:avLst/>
              <a:gdLst>
                <a:gd name="T0" fmla="*/ 25 w 27"/>
                <a:gd name="T1" fmla="*/ 0 h 18"/>
                <a:gd name="T2" fmla="*/ 27 w 27"/>
                <a:gd name="T3" fmla="*/ 4 h 18"/>
                <a:gd name="T4" fmla="*/ 27 w 27"/>
                <a:gd name="T5" fmla="*/ 16 h 18"/>
                <a:gd name="T6" fmla="*/ 25 w 27"/>
                <a:gd name="T7" fmla="*/ 18 h 18"/>
                <a:gd name="T8" fmla="*/ 2 w 27"/>
                <a:gd name="T9" fmla="*/ 18 h 18"/>
                <a:gd name="T10" fmla="*/ 0 w 27"/>
                <a:gd name="T11" fmla="*/ 16 h 18"/>
                <a:gd name="T12" fmla="*/ 0 w 27"/>
                <a:gd name="T13" fmla="*/ 4 h 18"/>
                <a:gd name="T14" fmla="*/ 2 w 27"/>
                <a:gd name="T15" fmla="*/ 0 h 18"/>
                <a:gd name="T16" fmla="*/ 25 w 2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8">
                  <a:moveTo>
                    <a:pt x="25" y="0"/>
                  </a:moveTo>
                  <a:cubicBezTo>
                    <a:pt x="25" y="0"/>
                    <a:pt x="27" y="2"/>
                    <a:pt x="27" y="4"/>
                  </a:cubicBezTo>
                  <a:cubicBezTo>
                    <a:pt x="27" y="16"/>
                    <a:pt x="27" y="16"/>
                    <a:pt x="27" y="16"/>
                  </a:cubicBezTo>
                  <a:cubicBezTo>
                    <a:pt x="25" y="18"/>
                    <a:pt x="25" y="18"/>
                    <a:pt x="25" y="18"/>
                  </a:cubicBezTo>
                  <a:cubicBezTo>
                    <a:pt x="2" y="18"/>
                    <a:pt x="2" y="18"/>
                    <a:pt x="2" y="18"/>
                  </a:cubicBezTo>
                  <a:cubicBezTo>
                    <a:pt x="0" y="16"/>
                    <a:pt x="0" y="16"/>
                    <a:pt x="0" y="16"/>
                  </a:cubicBezTo>
                  <a:cubicBezTo>
                    <a:pt x="0" y="4"/>
                    <a:pt x="0" y="4"/>
                    <a:pt x="0" y="4"/>
                  </a:cubicBezTo>
                  <a:cubicBezTo>
                    <a:pt x="0" y="2"/>
                    <a:pt x="2" y="0"/>
                    <a:pt x="2" y="0"/>
                  </a:cubicBezTo>
                  <a:lnTo>
                    <a:pt x="25" y="0"/>
                  </a:ln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455">
              <a:extLst>
                <a:ext uri="{FF2B5EF4-FFF2-40B4-BE49-F238E27FC236}">
                  <a16:creationId xmlns:a16="http://schemas.microsoft.com/office/drawing/2014/main" id="{D1DEB602-861E-47C8-88F2-26C878316D20}"/>
                </a:ext>
              </a:extLst>
            </p:cNvPr>
            <p:cNvSpPr>
              <a:spLocks noChangeArrowheads="1"/>
            </p:cNvSpPr>
            <p:nvPr/>
          </p:nvSpPr>
          <p:spPr bwMode="auto">
            <a:xfrm>
              <a:off x="2481263" y="862013"/>
              <a:ext cx="90487" cy="22225"/>
            </a:xfrm>
            <a:prstGeom prst="rect">
              <a:avLst/>
            </a:prstGeom>
            <a:solidFill>
              <a:srgbClr val="A042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456">
              <a:extLst>
                <a:ext uri="{FF2B5EF4-FFF2-40B4-BE49-F238E27FC236}">
                  <a16:creationId xmlns:a16="http://schemas.microsoft.com/office/drawing/2014/main" id="{B8BCE5C8-8BD4-43E5-B9CD-6F50E4F96C43}"/>
                </a:ext>
              </a:extLst>
            </p:cNvPr>
            <p:cNvSpPr>
              <a:spLocks noChangeArrowheads="1"/>
            </p:cNvSpPr>
            <p:nvPr/>
          </p:nvSpPr>
          <p:spPr bwMode="auto">
            <a:xfrm>
              <a:off x="2246313" y="862013"/>
              <a:ext cx="88900" cy="22225"/>
            </a:xfrm>
            <a:prstGeom prst="rect">
              <a:avLst/>
            </a:prstGeom>
            <a:solidFill>
              <a:srgbClr val="A042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457">
              <a:extLst>
                <a:ext uri="{FF2B5EF4-FFF2-40B4-BE49-F238E27FC236}">
                  <a16:creationId xmlns:a16="http://schemas.microsoft.com/office/drawing/2014/main" id="{DDC5077C-FCD8-456C-8092-E93F58864F9D}"/>
                </a:ext>
              </a:extLst>
            </p:cNvPr>
            <p:cNvSpPr>
              <a:spLocks/>
            </p:cNvSpPr>
            <p:nvPr/>
          </p:nvSpPr>
          <p:spPr bwMode="auto">
            <a:xfrm>
              <a:off x="2155825" y="512763"/>
              <a:ext cx="506412" cy="303213"/>
            </a:xfrm>
            <a:custGeom>
              <a:avLst/>
              <a:gdLst>
                <a:gd name="T0" fmla="*/ 130 w 135"/>
                <a:gd name="T1" fmla="*/ 57 h 81"/>
                <a:gd name="T2" fmla="*/ 72 w 135"/>
                <a:gd name="T3" fmla="*/ 57 h 81"/>
                <a:gd name="T4" fmla="*/ 72 w 135"/>
                <a:gd name="T5" fmla="*/ 40 h 81"/>
                <a:gd name="T6" fmla="*/ 94 w 135"/>
                <a:gd name="T7" fmla="*/ 40 h 81"/>
                <a:gd name="T8" fmla="*/ 99 w 135"/>
                <a:gd name="T9" fmla="*/ 35 h 81"/>
                <a:gd name="T10" fmla="*/ 99 w 135"/>
                <a:gd name="T11" fmla="*/ 6 h 81"/>
                <a:gd name="T12" fmla="*/ 94 w 135"/>
                <a:gd name="T13" fmla="*/ 0 h 81"/>
                <a:gd name="T14" fmla="*/ 41 w 135"/>
                <a:gd name="T15" fmla="*/ 4 h 81"/>
                <a:gd name="T16" fmla="*/ 36 w 135"/>
                <a:gd name="T17" fmla="*/ 6 h 81"/>
                <a:gd name="T18" fmla="*/ 36 w 135"/>
                <a:gd name="T19" fmla="*/ 35 h 81"/>
                <a:gd name="T20" fmla="*/ 41 w 135"/>
                <a:gd name="T21" fmla="*/ 40 h 81"/>
                <a:gd name="T22" fmla="*/ 65 w 135"/>
                <a:gd name="T23" fmla="*/ 40 h 81"/>
                <a:gd name="T24" fmla="*/ 65 w 135"/>
                <a:gd name="T25" fmla="*/ 57 h 81"/>
                <a:gd name="T26" fmla="*/ 4 w 135"/>
                <a:gd name="T27" fmla="*/ 57 h 81"/>
                <a:gd name="T28" fmla="*/ 0 w 135"/>
                <a:gd name="T29" fmla="*/ 62 h 81"/>
                <a:gd name="T30" fmla="*/ 0 w 135"/>
                <a:gd name="T31" fmla="*/ 81 h 81"/>
                <a:gd name="T32" fmla="*/ 9 w 135"/>
                <a:gd name="T33" fmla="*/ 81 h 81"/>
                <a:gd name="T34" fmla="*/ 9 w 135"/>
                <a:gd name="T35" fmla="*/ 66 h 81"/>
                <a:gd name="T36" fmla="*/ 65 w 135"/>
                <a:gd name="T37" fmla="*/ 66 h 81"/>
                <a:gd name="T38" fmla="*/ 65 w 135"/>
                <a:gd name="T39" fmla="*/ 81 h 81"/>
                <a:gd name="T40" fmla="*/ 72 w 135"/>
                <a:gd name="T41" fmla="*/ 81 h 81"/>
                <a:gd name="T42" fmla="*/ 72 w 135"/>
                <a:gd name="T43" fmla="*/ 66 h 81"/>
                <a:gd name="T44" fmla="*/ 126 w 135"/>
                <a:gd name="T45" fmla="*/ 66 h 81"/>
                <a:gd name="T46" fmla="*/ 126 w 135"/>
                <a:gd name="T47" fmla="*/ 81 h 81"/>
                <a:gd name="T48" fmla="*/ 135 w 135"/>
                <a:gd name="T49" fmla="*/ 81 h 81"/>
                <a:gd name="T50" fmla="*/ 135 w 135"/>
                <a:gd name="T51" fmla="*/ 62 h 81"/>
                <a:gd name="T52" fmla="*/ 130 w 135"/>
                <a:gd name="T53" fmla="*/ 5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5" h="81">
                  <a:moveTo>
                    <a:pt x="130" y="57"/>
                  </a:moveTo>
                  <a:cubicBezTo>
                    <a:pt x="72" y="57"/>
                    <a:pt x="72" y="57"/>
                    <a:pt x="72" y="57"/>
                  </a:cubicBezTo>
                  <a:cubicBezTo>
                    <a:pt x="72" y="40"/>
                    <a:pt x="72" y="40"/>
                    <a:pt x="72" y="40"/>
                  </a:cubicBezTo>
                  <a:cubicBezTo>
                    <a:pt x="94" y="40"/>
                    <a:pt x="94" y="40"/>
                    <a:pt x="94" y="40"/>
                  </a:cubicBezTo>
                  <a:cubicBezTo>
                    <a:pt x="97" y="40"/>
                    <a:pt x="99" y="38"/>
                    <a:pt x="99" y="35"/>
                  </a:cubicBezTo>
                  <a:cubicBezTo>
                    <a:pt x="99" y="6"/>
                    <a:pt x="99" y="6"/>
                    <a:pt x="99" y="6"/>
                  </a:cubicBezTo>
                  <a:cubicBezTo>
                    <a:pt x="99" y="2"/>
                    <a:pt x="97" y="0"/>
                    <a:pt x="94" y="0"/>
                  </a:cubicBezTo>
                  <a:cubicBezTo>
                    <a:pt x="41" y="4"/>
                    <a:pt x="41" y="4"/>
                    <a:pt x="41" y="4"/>
                  </a:cubicBezTo>
                  <a:cubicBezTo>
                    <a:pt x="39" y="4"/>
                    <a:pt x="36" y="2"/>
                    <a:pt x="36" y="6"/>
                  </a:cubicBezTo>
                  <a:cubicBezTo>
                    <a:pt x="36" y="35"/>
                    <a:pt x="36" y="35"/>
                    <a:pt x="36" y="35"/>
                  </a:cubicBezTo>
                  <a:cubicBezTo>
                    <a:pt x="36" y="38"/>
                    <a:pt x="39" y="40"/>
                    <a:pt x="41" y="40"/>
                  </a:cubicBezTo>
                  <a:cubicBezTo>
                    <a:pt x="65" y="40"/>
                    <a:pt x="65" y="40"/>
                    <a:pt x="65" y="40"/>
                  </a:cubicBezTo>
                  <a:cubicBezTo>
                    <a:pt x="65" y="57"/>
                    <a:pt x="65" y="57"/>
                    <a:pt x="65" y="57"/>
                  </a:cubicBezTo>
                  <a:cubicBezTo>
                    <a:pt x="4" y="57"/>
                    <a:pt x="4" y="57"/>
                    <a:pt x="4" y="57"/>
                  </a:cubicBezTo>
                  <a:cubicBezTo>
                    <a:pt x="2" y="57"/>
                    <a:pt x="0" y="59"/>
                    <a:pt x="0" y="62"/>
                  </a:cubicBezTo>
                  <a:cubicBezTo>
                    <a:pt x="0" y="81"/>
                    <a:pt x="0" y="81"/>
                    <a:pt x="0" y="81"/>
                  </a:cubicBezTo>
                  <a:cubicBezTo>
                    <a:pt x="9" y="81"/>
                    <a:pt x="9" y="81"/>
                    <a:pt x="9" y="81"/>
                  </a:cubicBezTo>
                  <a:cubicBezTo>
                    <a:pt x="9" y="66"/>
                    <a:pt x="9" y="66"/>
                    <a:pt x="9" y="66"/>
                  </a:cubicBezTo>
                  <a:cubicBezTo>
                    <a:pt x="65" y="66"/>
                    <a:pt x="65" y="66"/>
                    <a:pt x="65" y="66"/>
                  </a:cubicBezTo>
                  <a:cubicBezTo>
                    <a:pt x="65" y="81"/>
                    <a:pt x="65" y="81"/>
                    <a:pt x="65" y="81"/>
                  </a:cubicBezTo>
                  <a:cubicBezTo>
                    <a:pt x="72" y="81"/>
                    <a:pt x="72" y="81"/>
                    <a:pt x="72" y="81"/>
                  </a:cubicBezTo>
                  <a:cubicBezTo>
                    <a:pt x="72" y="66"/>
                    <a:pt x="72" y="66"/>
                    <a:pt x="72" y="66"/>
                  </a:cubicBezTo>
                  <a:cubicBezTo>
                    <a:pt x="126" y="66"/>
                    <a:pt x="126" y="66"/>
                    <a:pt x="126" y="66"/>
                  </a:cubicBezTo>
                  <a:cubicBezTo>
                    <a:pt x="126" y="81"/>
                    <a:pt x="126" y="81"/>
                    <a:pt x="126" y="81"/>
                  </a:cubicBezTo>
                  <a:cubicBezTo>
                    <a:pt x="135" y="81"/>
                    <a:pt x="135" y="81"/>
                    <a:pt x="135" y="81"/>
                  </a:cubicBezTo>
                  <a:cubicBezTo>
                    <a:pt x="135" y="62"/>
                    <a:pt x="135" y="62"/>
                    <a:pt x="135" y="62"/>
                  </a:cubicBezTo>
                  <a:cubicBezTo>
                    <a:pt x="135" y="59"/>
                    <a:pt x="133" y="57"/>
                    <a:pt x="130" y="57"/>
                  </a:cubicBezTo>
                  <a:close/>
                </a:path>
              </a:pathLst>
            </a:custGeom>
            <a:solidFill>
              <a:srgbClr val="A042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458">
              <a:extLst>
                <a:ext uri="{FF2B5EF4-FFF2-40B4-BE49-F238E27FC236}">
                  <a16:creationId xmlns:a16="http://schemas.microsoft.com/office/drawing/2014/main" id="{46DBF912-094F-4DCA-823D-EF290C5AC205}"/>
                </a:ext>
              </a:extLst>
            </p:cNvPr>
            <p:cNvSpPr>
              <a:spLocks/>
            </p:cNvSpPr>
            <p:nvPr/>
          </p:nvSpPr>
          <p:spPr bwMode="auto">
            <a:xfrm>
              <a:off x="2290763" y="455613"/>
              <a:ext cx="236537" cy="90488"/>
            </a:xfrm>
            <a:custGeom>
              <a:avLst/>
              <a:gdLst>
                <a:gd name="T0" fmla="*/ 21 w 63"/>
                <a:gd name="T1" fmla="*/ 14 h 24"/>
                <a:gd name="T2" fmla="*/ 63 w 63"/>
                <a:gd name="T3" fmla="*/ 14 h 24"/>
                <a:gd name="T4" fmla="*/ 63 w 63"/>
                <a:gd name="T5" fmla="*/ 14 h 24"/>
                <a:gd name="T6" fmla="*/ 63 w 63"/>
                <a:gd name="T7" fmla="*/ 24 h 24"/>
                <a:gd name="T8" fmla="*/ 0 w 63"/>
                <a:gd name="T9" fmla="*/ 24 h 24"/>
                <a:gd name="T10" fmla="*/ 0 w 63"/>
                <a:gd name="T11" fmla="*/ 12 h 24"/>
                <a:gd name="T12" fmla="*/ 21 w 63"/>
                <a:gd name="T13" fmla="*/ 14 h 24"/>
              </a:gdLst>
              <a:ahLst/>
              <a:cxnLst>
                <a:cxn ang="0">
                  <a:pos x="T0" y="T1"/>
                </a:cxn>
                <a:cxn ang="0">
                  <a:pos x="T2" y="T3"/>
                </a:cxn>
                <a:cxn ang="0">
                  <a:pos x="T4" y="T5"/>
                </a:cxn>
                <a:cxn ang="0">
                  <a:pos x="T6" y="T7"/>
                </a:cxn>
                <a:cxn ang="0">
                  <a:pos x="T8" y="T9"/>
                </a:cxn>
                <a:cxn ang="0">
                  <a:pos x="T10" y="T11"/>
                </a:cxn>
                <a:cxn ang="0">
                  <a:pos x="T12" y="T13"/>
                </a:cxn>
              </a:cxnLst>
              <a:rect l="0" t="0" r="r" b="b"/>
              <a:pathLst>
                <a:path w="63" h="24">
                  <a:moveTo>
                    <a:pt x="21" y="14"/>
                  </a:moveTo>
                  <a:cubicBezTo>
                    <a:pt x="46" y="0"/>
                    <a:pt x="63" y="14"/>
                    <a:pt x="63" y="14"/>
                  </a:cubicBezTo>
                  <a:cubicBezTo>
                    <a:pt x="63" y="14"/>
                    <a:pt x="63" y="14"/>
                    <a:pt x="63" y="14"/>
                  </a:cubicBezTo>
                  <a:cubicBezTo>
                    <a:pt x="63" y="24"/>
                    <a:pt x="63" y="24"/>
                    <a:pt x="63" y="24"/>
                  </a:cubicBezTo>
                  <a:cubicBezTo>
                    <a:pt x="0" y="24"/>
                    <a:pt x="0" y="24"/>
                    <a:pt x="0" y="24"/>
                  </a:cubicBezTo>
                  <a:cubicBezTo>
                    <a:pt x="0" y="12"/>
                    <a:pt x="0" y="12"/>
                    <a:pt x="0" y="12"/>
                  </a:cubicBezTo>
                  <a:cubicBezTo>
                    <a:pt x="9" y="21"/>
                    <a:pt x="21" y="14"/>
                    <a:pt x="21" y="14"/>
                  </a:cubicBezTo>
                  <a:close/>
                </a:path>
              </a:pathLst>
            </a:custGeom>
            <a:solidFill>
              <a:srgbClr val="A042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098886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13" name="Dowolny kształt: kształt 12">
            <a:extLst>
              <a:ext uri="{FF2B5EF4-FFF2-40B4-BE49-F238E27FC236}">
                <a16:creationId xmlns:a16="http://schemas.microsoft.com/office/drawing/2014/main" id="{6C71BDA3-A4BA-4832-A6DA-F5DE07AE75AA}"/>
              </a:ext>
            </a:extLst>
          </p:cNvPr>
          <p:cNvSpPr/>
          <p:nvPr/>
        </p:nvSpPr>
        <p:spPr>
          <a:xfrm>
            <a:off x="71806" y="338718"/>
            <a:ext cx="5125124" cy="4829123"/>
          </a:xfrm>
          <a:custGeom>
            <a:avLst/>
            <a:gdLst>
              <a:gd name="connsiteX0" fmla="*/ 128219 w 5125124"/>
              <a:gd name="connsiteY0" fmla="*/ 1832982 h 4829123"/>
              <a:gd name="connsiteX1" fmla="*/ 709244 w 5125124"/>
              <a:gd name="connsiteY1" fmla="*/ 661407 h 4829123"/>
              <a:gd name="connsiteX2" fmla="*/ 1109294 w 5125124"/>
              <a:gd name="connsiteY2" fmla="*/ 70857 h 4829123"/>
              <a:gd name="connsiteX3" fmla="*/ 2233244 w 5125124"/>
              <a:gd name="connsiteY3" fmla="*/ 32757 h 4829123"/>
              <a:gd name="connsiteX4" fmla="*/ 3461969 w 5125124"/>
              <a:gd name="connsiteY4" fmla="*/ 270882 h 4829123"/>
              <a:gd name="connsiteX5" fmla="*/ 4585919 w 5125124"/>
              <a:gd name="connsiteY5" fmla="*/ 1232907 h 4829123"/>
              <a:gd name="connsiteX6" fmla="*/ 5100269 w 5125124"/>
              <a:gd name="connsiteY6" fmla="*/ 3118857 h 4829123"/>
              <a:gd name="connsiteX7" fmla="*/ 3842969 w 5125124"/>
              <a:gd name="connsiteY7" fmla="*/ 4195182 h 4829123"/>
              <a:gd name="connsiteX8" fmla="*/ 3547694 w 5125124"/>
              <a:gd name="connsiteY8" fmla="*/ 4585707 h 4829123"/>
              <a:gd name="connsiteX9" fmla="*/ 3423869 w 5125124"/>
              <a:gd name="connsiteY9" fmla="*/ 4814307 h 4829123"/>
              <a:gd name="connsiteX10" fmla="*/ 3100019 w 5125124"/>
              <a:gd name="connsiteY10" fmla="*/ 4757157 h 4829123"/>
              <a:gd name="connsiteX11" fmla="*/ 2842844 w 5125124"/>
              <a:gd name="connsiteY11" fmla="*/ 4357107 h 4829123"/>
              <a:gd name="connsiteX12" fmla="*/ 1604594 w 5125124"/>
              <a:gd name="connsiteY12" fmla="*/ 3528432 h 4829123"/>
              <a:gd name="connsiteX13" fmla="*/ 594944 w 5125124"/>
              <a:gd name="connsiteY13" fmla="*/ 2499732 h 4829123"/>
              <a:gd name="connsiteX14" fmla="*/ 32969 w 5125124"/>
              <a:gd name="connsiteY14" fmla="*/ 2204457 h 4829123"/>
              <a:gd name="connsiteX15" fmla="*/ 128219 w 5125124"/>
              <a:gd name="connsiteY15" fmla="*/ 1832982 h 482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25124" h="4829123">
                <a:moveTo>
                  <a:pt x="128219" y="1832982"/>
                </a:moveTo>
                <a:cubicBezTo>
                  <a:pt x="240932" y="1575807"/>
                  <a:pt x="545732" y="955094"/>
                  <a:pt x="709244" y="661407"/>
                </a:cubicBezTo>
                <a:cubicBezTo>
                  <a:pt x="872756" y="367720"/>
                  <a:pt x="855294" y="175632"/>
                  <a:pt x="1109294" y="70857"/>
                </a:cubicBezTo>
                <a:cubicBezTo>
                  <a:pt x="1363294" y="-33918"/>
                  <a:pt x="1841132" y="-580"/>
                  <a:pt x="2233244" y="32757"/>
                </a:cubicBezTo>
                <a:cubicBezTo>
                  <a:pt x="2625356" y="66094"/>
                  <a:pt x="3069857" y="70857"/>
                  <a:pt x="3461969" y="270882"/>
                </a:cubicBezTo>
                <a:cubicBezTo>
                  <a:pt x="3854081" y="470907"/>
                  <a:pt x="4312869" y="758245"/>
                  <a:pt x="4585919" y="1232907"/>
                </a:cubicBezTo>
                <a:cubicBezTo>
                  <a:pt x="4858969" y="1707569"/>
                  <a:pt x="5224094" y="2625145"/>
                  <a:pt x="5100269" y="3118857"/>
                </a:cubicBezTo>
                <a:cubicBezTo>
                  <a:pt x="4976444" y="3612569"/>
                  <a:pt x="4101732" y="3950707"/>
                  <a:pt x="3842969" y="4195182"/>
                </a:cubicBezTo>
                <a:cubicBezTo>
                  <a:pt x="3584207" y="4439657"/>
                  <a:pt x="3617544" y="4482520"/>
                  <a:pt x="3547694" y="4585707"/>
                </a:cubicBezTo>
                <a:cubicBezTo>
                  <a:pt x="3477844" y="4688894"/>
                  <a:pt x="3498481" y="4785732"/>
                  <a:pt x="3423869" y="4814307"/>
                </a:cubicBezTo>
                <a:cubicBezTo>
                  <a:pt x="3349257" y="4842882"/>
                  <a:pt x="3196856" y="4833357"/>
                  <a:pt x="3100019" y="4757157"/>
                </a:cubicBezTo>
                <a:cubicBezTo>
                  <a:pt x="3003182" y="4680957"/>
                  <a:pt x="3092082" y="4561895"/>
                  <a:pt x="2842844" y="4357107"/>
                </a:cubicBezTo>
                <a:cubicBezTo>
                  <a:pt x="2593606" y="4152319"/>
                  <a:pt x="1979244" y="3837994"/>
                  <a:pt x="1604594" y="3528432"/>
                </a:cubicBezTo>
                <a:cubicBezTo>
                  <a:pt x="1229944" y="3218870"/>
                  <a:pt x="856882" y="2720395"/>
                  <a:pt x="594944" y="2499732"/>
                </a:cubicBezTo>
                <a:cubicBezTo>
                  <a:pt x="333007" y="2279070"/>
                  <a:pt x="105994" y="2313994"/>
                  <a:pt x="32969" y="2204457"/>
                </a:cubicBezTo>
                <a:cubicBezTo>
                  <a:pt x="-40056" y="2094920"/>
                  <a:pt x="15506" y="2090157"/>
                  <a:pt x="128219" y="1832982"/>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8" name="Prostokąt 57">
            <a:extLst>
              <a:ext uri="{FF2B5EF4-FFF2-40B4-BE49-F238E27FC236}">
                <a16:creationId xmlns:a16="http://schemas.microsoft.com/office/drawing/2014/main" id="{27C36A32-FF58-46CF-B832-079B92F23C8A}"/>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9" name="Prostokąt 58">
            <a:extLst>
              <a:ext uri="{FF2B5EF4-FFF2-40B4-BE49-F238E27FC236}">
                <a16:creationId xmlns:a16="http://schemas.microsoft.com/office/drawing/2014/main" id="{1115FDB3-8909-4D03-8AB3-007CA370CBA8}"/>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60" name="Prostokąt 59">
            <a:extLst>
              <a:ext uri="{FF2B5EF4-FFF2-40B4-BE49-F238E27FC236}">
                <a16:creationId xmlns:a16="http://schemas.microsoft.com/office/drawing/2014/main" id="{E69F5BF9-0B01-4BFB-A849-3EEF86C9205A}"/>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61" name="Obraz 60">
            <a:extLst>
              <a:ext uri="{FF2B5EF4-FFF2-40B4-BE49-F238E27FC236}">
                <a16:creationId xmlns:a16="http://schemas.microsoft.com/office/drawing/2014/main" id="{D6AF4275-BF0D-4D79-BA3B-2A4365209804}"/>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62" name="Obraz 61">
            <a:extLst>
              <a:ext uri="{FF2B5EF4-FFF2-40B4-BE49-F238E27FC236}">
                <a16:creationId xmlns:a16="http://schemas.microsoft.com/office/drawing/2014/main" id="{F9DA4809-83CF-4D06-9AEF-4A1E6F56B5D0}"/>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63" name="Obraz 62">
            <a:extLst>
              <a:ext uri="{FF2B5EF4-FFF2-40B4-BE49-F238E27FC236}">
                <a16:creationId xmlns:a16="http://schemas.microsoft.com/office/drawing/2014/main" id="{ACB12B14-7538-4D3B-8F81-6E9567A67269}"/>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64" name="Łącznik prosty ze strzałką 63">
            <a:extLst>
              <a:ext uri="{FF2B5EF4-FFF2-40B4-BE49-F238E27FC236}">
                <a16:creationId xmlns:a16="http://schemas.microsoft.com/office/drawing/2014/main" id="{2300AF04-FBE5-4AD7-835D-6352378A64E1}"/>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5" name="Łącznik prosty ze strzałką 64">
            <a:extLst>
              <a:ext uri="{FF2B5EF4-FFF2-40B4-BE49-F238E27FC236}">
                <a16:creationId xmlns:a16="http://schemas.microsoft.com/office/drawing/2014/main" id="{39E4F6F3-5265-4ECE-A1F5-E0BE85E9DAE8}"/>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7" name="Łącznik prosty ze strzałką 66">
            <a:extLst>
              <a:ext uri="{FF2B5EF4-FFF2-40B4-BE49-F238E27FC236}">
                <a16:creationId xmlns:a16="http://schemas.microsoft.com/office/drawing/2014/main" id="{C52A5D9D-BD3D-478A-A8BC-927A5FD216D9}"/>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8" name="Łącznik prosty ze strzałką 67">
            <a:extLst>
              <a:ext uri="{FF2B5EF4-FFF2-40B4-BE49-F238E27FC236}">
                <a16:creationId xmlns:a16="http://schemas.microsoft.com/office/drawing/2014/main" id="{4E75B591-25B8-45F7-9321-FD924B66ACB6}"/>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pic>
        <p:nvPicPr>
          <p:cNvPr id="70" name="Obraz 69">
            <a:extLst>
              <a:ext uri="{FF2B5EF4-FFF2-40B4-BE49-F238E27FC236}">
                <a16:creationId xmlns:a16="http://schemas.microsoft.com/office/drawing/2014/main" id="{CE1BF0A1-24AD-4A0C-8B91-6EC19A03D505}"/>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71" name="Obraz 70">
            <a:extLst>
              <a:ext uri="{FF2B5EF4-FFF2-40B4-BE49-F238E27FC236}">
                <a16:creationId xmlns:a16="http://schemas.microsoft.com/office/drawing/2014/main" id="{32A5E629-8231-400B-B029-34ECB359F6A9}"/>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15" name="Dowolny kształt: kształt 14">
            <a:extLst>
              <a:ext uri="{FF2B5EF4-FFF2-40B4-BE49-F238E27FC236}">
                <a16:creationId xmlns:a16="http://schemas.microsoft.com/office/drawing/2014/main" id="{E1209423-57AA-4147-92A7-5049052B75EB}"/>
              </a:ext>
            </a:extLst>
          </p:cNvPr>
          <p:cNvSpPr/>
          <p:nvPr/>
        </p:nvSpPr>
        <p:spPr>
          <a:xfrm>
            <a:off x="3863284" y="175518"/>
            <a:ext cx="8084332" cy="6451888"/>
          </a:xfrm>
          <a:custGeom>
            <a:avLst/>
            <a:gdLst>
              <a:gd name="connsiteX0" fmla="*/ 309337 w 8084332"/>
              <a:gd name="connsiteY0" fmla="*/ 5458086 h 6451888"/>
              <a:gd name="connsiteX1" fmla="*/ 4537 w 8084332"/>
              <a:gd name="connsiteY1" fmla="*/ 5772411 h 6451888"/>
              <a:gd name="connsiteX2" fmla="*/ 566512 w 8084332"/>
              <a:gd name="connsiteY2" fmla="*/ 6115311 h 6451888"/>
              <a:gd name="connsiteX3" fmla="*/ 1385662 w 8084332"/>
              <a:gd name="connsiteY3" fmla="*/ 6439161 h 6451888"/>
              <a:gd name="connsiteX4" fmla="*/ 4614637 w 8084332"/>
              <a:gd name="connsiteY4" fmla="*/ 6391536 h 6451888"/>
              <a:gd name="connsiteX5" fmla="*/ 7872187 w 8084332"/>
              <a:gd name="connsiteY5" fmla="*/ 6296286 h 6451888"/>
              <a:gd name="connsiteX6" fmla="*/ 7662637 w 8084332"/>
              <a:gd name="connsiteY6" fmla="*/ 5915286 h 6451888"/>
              <a:gd name="connsiteX7" fmla="*/ 7843612 w 8084332"/>
              <a:gd name="connsiteY7" fmla="*/ 5734311 h 6451888"/>
              <a:gd name="connsiteX8" fmla="*/ 8072212 w 8084332"/>
              <a:gd name="connsiteY8" fmla="*/ 5162811 h 6451888"/>
              <a:gd name="connsiteX9" fmla="*/ 7443562 w 8084332"/>
              <a:gd name="connsiteY9" fmla="*/ 4153161 h 6451888"/>
              <a:gd name="connsiteX10" fmla="*/ 7938862 w 8084332"/>
              <a:gd name="connsiteY10" fmla="*/ 2429136 h 6451888"/>
              <a:gd name="connsiteX11" fmla="*/ 7834087 w 8084332"/>
              <a:gd name="connsiteY11" fmla="*/ 1352811 h 6451888"/>
              <a:gd name="connsiteX12" fmla="*/ 6605362 w 8084332"/>
              <a:gd name="connsiteY12" fmla="*/ 628911 h 6451888"/>
              <a:gd name="connsiteX13" fmla="*/ 5319487 w 8084332"/>
              <a:gd name="connsiteY13" fmla="*/ 28836 h 6451888"/>
              <a:gd name="connsiteX14" fmla="*/ 3643087 w 8084332"/>
              <a:gd name="connsiteY14" fmla="*/ 114561 h 6451888"/>
              <a:gd name="connsiteX15" fmla="*/ 2500087 w 8084332"/>
              <a:gd name="connsiteY15" fmla="*/ 286011 h 6451888"/>
              <a:gd name="connsiteX16" fmla="*/ 1519012 w 8084332"/>
              <a:gd name="connsiteY16" fmla="*/ 552711 h 6451888"/>
              <a:gd name="connsiteX17" fmla="*/ 1414237 w 8084332"/>
              <a:gd name="connsiteY17" fmla="*/ 1409961 h 6451888"/>
              <a:gd name="connsiteX18" fmla="*/ 1604737 w 8084332"/>
              <a:gd name="connsiteY18" fmla="*/ 2114811 h 6451888"/>
              <a:gd name="connsiteX19" fmla="*/ 1976212 w 8084332"/>
              <a:gd name="connsiteY19" fmla="*/ 3543561 h 6451888"/>
              <a:gd name="connsiteX20" fmla="*/ 1242787 w 8084332"/>
              <a:gd name="connsiteY20" fmla="*/ 4772286 h 6451888"/>
              <a:gd name="connsiteX21" fmla="*/ 452212 w 8084332"/>
              <a:gd name="connsiteY21" fmla="*/ 5429511 h 6451888"/>
              <a:gd name="connsiteX22" fmla="*/ 309337 w 8084332"/>
              <a:gd name="connsiteY22" fmla="*/ 5458086 h 645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84332" h="6451888">
                <a:moveTo>
                  <a:pt x="309337" y="5458086"/>
                </a:moveTo>
                <a:cubicBezTo>
                  <a:pt x="234724" y="5515236"/>
                  <a:pt x="-38325" y="5662874"/>
                  <a:pt x="4537" y="5772411"/>
                </a:cubicBezTo>
                <a:cubicBezTo>
                  <a:pt x="47399" y="5881948"/>
                  <a:pt x="336325" y="6004186"/>
                  <a:pt x="566512" y="6115311"/>
                </a:cubicBezTo>
                <a:cubicBezTo>
                  <a:pt x="796699" y="6226436"/>
                  <a:pt x="710975" y="6393124"/>
                  <a:pt x="1385662" y="6439161"/>
                </a:cubicBezTo>
                <a:cubicBezTo>
                  <a:pt x="2060350" y="6485199"/>
                  <a:pt x="4614637" y="6391536"/>
                  <a:pt x="4614637" y="6391536"/>
                </a:cubicBezTo>
                <a:cubicBezTo>
                  <a:pt x="5695724" y="6367724"/>
                  <a:pt x="7364187" y="6375661"/>
                  <a:pt x="7872187" y="6296286"/>
                </a:cubicBezTo>
                <a:cubicBezTo>
                  <a:pt x="8380187" y="6216911"/>
                  <a:pt x="7667399" y="6008948"/>
                  <a:pt x="7662637" y="5915286"/>
                </a:cubicBezTo>
                <a:cubicBezTo>
                  <a:pt x="7657875" y="5821624"/>
                  <a:pt x="7775350" y="5859723"/>
                  <a:pt x="7843612" y="5734311"/>
                </a:cubicBezTo>
                <a:cubicBezTo>
                  <a:pt x="7911874" y="5608899"/>
                  <a:pt x="8138887" y="5426336"/>
                  <a:pt x="8072212" y="5162811"/>
                </a:cubicBezTo>
                <a:cubicBezTo>
                  <a:pt x="8005537" y="4899286"/>
                  <a:pt x="7465787" y="4608773"/>
                  <a:pt x="7443562" y="4153161"/>
                </a:cubicBezTo>
                <a:cubicBezTo>
                  <a:pt x="7421337" y="3697548"/>
                  <a:pt x="7873774" y="2895861"/>
                  <a:pt x="7938862" y="2429136"/>
                </a:cubicBezTo>
                <a:cubicBezTo>
                  <a:pt x="8003950" y="1962411"/>
                  <a:pt x="8056337" y="1652848"/>
                  <a:pt x="7834087" y="1352811"/>
                </a:cubicBezTo>
                <a:cubicBezTo>
                  <a:pt x="7611837" y="1052774"/>
                  <a:pt x="7024462" y="849573"/>
                  <a:pt x="6605362" y="628911"/>
                </a:cubicBezTo>
                <a:cubicBezTo>
                  <a:pt x="6186262" y="408248"/>
                  <a:pt x="5813199" y="114561"/>
                  <a:pt x="5319487" y="28836"/>
                </a:cubicBezTo>
                <a:cubicBezTo>
                  <a:pt x="4825775" y="-56889"/>
                  <a:pt x="4112987" y="71699"/>
                  <a:pt x="3643087" y="114561"/>
                </a:cubicBezTo>
                <a:cubicBezTo>
                  <a:pt x="3173187" y="157423"/>
                  <a:pt x="2854099" y="212986"/>
                  <a:pt x="2500087" y="286011"/>
                </a:cubicBezTo>
                <a:cubicBezTo>
                  <a:pt x="2146075" y="359036"/>
                  <a:pt x="1699987" y="365386"/>
                  <a:pt x="1519012" y="552711"/>
                </a:cubicBezTo>
                <a:cubicBezTo>
                  <a:pt x="1338037" y="740036"/>
                  <a:pt x="1399950" y="1149611"/>
                  <a:pt x="1414237" y="1409961"/>
                </a:cubicBezTo>
                <a:cubicBezTo>
                  <a:pt x="1428525" y="1670311"/>
                  <a:pt x="1511075" y="1759211"/>
                  <a:pt x="1604737" y="2114811"/>
                </a:cubicBezTo>
                <a:cubicBezTo>
                  <a:pt x="1698399" y="2470411"/>
                  <a:pt x="2036537" y="3100649"/>
                  <a:pt x="1976212" y="3543561"/>
                </a:cubicBezTo>
                <a:cubicBezTo>
                  <a:pt x="1915887" y="3986473"/>
                  <a:pt x="1496787" y="4457961"/>
                  <a:pt x="1242787" y="4772286"/>
                </a:cubicBezTo>
                <a:cubicBezTo>
                  <a:pt x="988787" y="5086611"/>
                  <a:pt x="604612" y="5316798"/>
                  <a:pt x="452212" y="5429511"/>
                </a:cubicBezTo>
                <a:cubicBezTo>
                  <a:pt x="299812" y="5542224"/>
                  <a:pt x="383950" y="5400936"/>
                  <a:pt x="309337" y="5458086"/>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1379821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13" name="Dowolny kształt: kształt 12">
            <a:extLst>
              <a:ext uri="{FF2B5EF4-FFF2-40B4-BE49-F238E27FC236}">
                <a16:creationId xmlns:a16="http://schemas.microsoft.com/office/drawing/2014/main" id="{6C71BDA3-A4BA-4832-A6DA-F5DE07AE75AA}"/>
              </a:ext>
            </a:extLst>
          </p:cNvPr>
          <p:cNvSpPr/>
          <p:nvPr/>
        </p:nvSpPr>
        <p:spPr>
          <a:xfrm>
            <a:off x="71806" y="338718"/>
            <a:ext cx="5125124" cy="4829123"/>
          </a:xfrm>
          <a:custGeom>
            <a:avLst/>
            <a:gdLst>
              <a:gd name="connsiteX0" fmla="*/ 128219 w 5125124"/>
              <a:gd name="connsiteY0" fmla="*/ 1832982 h 4829123"/>
              <a:gd name="connsiteX1" fmla="*/ 709244 w 5125124"/>
              <a:gd name="connsiteY1" fmla="*/ 661407 h 4829123"/>
              <a:gd name="connsiteX2" fmla="*/ 1109294 w 5125124"/>
              <a:gd name="connsiteY2" fmla="*/ 70857 h 4829123"/>
              <a:gd name="connsiteX3" fmla="*/ 2233244 w 5125124"/>
              <a:gd name="connsiteY3" fmla="*/ 32757 h 4829123"/>
              <a:gd name="connsiteX4" fmla="*/ 3461969 w 5125124"/>
              <a:gd name="connsiteY4" fmla="*/ 270882 h 4829123"/>
              <a:gd name="connsiteX5" fmla="*/ 4585919 w 5125124"/>
              <a:gd name="connsiteY5" fmla="*/ 1232907 h 4829123"/>
              <a:gd name="connsiteX6" fmla="*/ 5100269 w 5125124"/>
              <a:gd name="connsiteY6" fmla="*/ 3118857 h 4829123"/>
              <a:gd name="connsiteX7" fmla="*/ 3842969 w 5125124"/>
              <a:gd name="connsiteY7" fmla="*/ 4195182 h 4829123"/>
              <a:gd name="connsiteX8" fmla="*/ 3547694 w 5125124"/>
              <a:gd name="connsiteY8" fmla="*/ 4585707 h 4829123"/>
              <a:gd name="connsiteX9" fmla="*/ 3423869 w 5125124"/>
              <a:gd name="connsiteY9" fmla="*/ 4814307 h 4829123"/>
              <a:gd name="connsiteX10" fmla="*/ 3100019 w 5125124"/>
              <a:gd name="connsiteY10" fmla="*/ 4757157 h 4829123"/>
              <a:gd name="connsiteX11" fmla="*/ 2842844 w 5125124"/>
              <a:gd name="connsiteY11" fmla="*/ 4357107 h 4829123"/>
              <a:gd name="connsiteX12" fmla="*/ 1604594 w 5125124"/>
              <a:gd name="connsiteY12" fmla="*/ 3528432 h 4829123"/>
              <a:gd name="connsiteX13" fmla="*/ 594944 w 5125124"/>
              <a:gd name="connsiteY13" fmla="*/ 2499732 h 4829123"/>
              <a:gd name="connsiteX14" fmla="*/ 32969 w 5125124"/>
              <a:gd name="connsiteY14" fmla="*/ 2204457 h 4829123"/>
              <a:gd name="connsiteX15" fmla="*/ 128219 w 5125124"/>
              <a:gd name="connsiteY15" fmla="*/ 1832982 h 482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25124" h="4829123">
                <a:moveTo>
                  <a:pt x="128219" y="1832982"/>
                </a:moveTo>
                <a:cubicBezTo>
                  <a:pt x="240932" y="1575807"/>
                  <a:pt x="545732" y="955094"/>
                  <a:pt x="709244" y="661407"/>
                </a:cubicBezTo>
                <a:cubicBezTo>
                  <a:pt x="872756" y="367720"/>
                  <a:pt x="855294" y="175632"/>
                  <a:pt x="1109294" y="70857"/>
                </a:cubicBezTo>
                <a:cubicBezTo>
                  <a:pt x="1363294" y="-33918"/>
                  <a:pt x="1841132" y="-580"/>
                  <a:pt x="2233244" y="32757"/>
                </a:cubicBezTo>
                <a:cubicBezTo>
                  <a:pt x="2625356" y="66094"/>
                  <a:pt x="3069857" y="70857"/>
                  <a:pt x="3461969" y="270882"/>
                </a:cubicBezTo>
                <a:cubicBezTo>
                  <a:pt x="3854081" y="470907"/>
                  <a:pt x="4312869" y="758245"/>
                  <a:pt x="4585919" y="1232907"/>
                </a:cubicBezTo>
                <a:cubicBezTo>
                  <a:pt x="4858969" y="1707569"/>
                  <a:pt x="5224094" y="2625145"/>
                  <a:pt x="5100269" y="3118857"/>
                </a:cubicBezTo>
                <a:cubicBezTo>
                  <a:pt x="4976444" y="3612569"/>
                  <a:pt x="4101732" y="3950707"/>
                  <a:pt x="3842969" y="4195182"/>
                </a:cubicBezTo>
                <a:cubicBezTo>
                  <a:pt x="3584207" y="4439657"/>
                  <a:pt x="3617544" y="4482520"/>
                  <a:pt x="3547694" y="4585707"/>
                </a:cubicBezTo>
                <a:cubicBezTo>
                  <a:pt x="3477844" y="4688894"/>
                  <a:pt x="3498481" y="4785732"/>
                  <a:pt x="3423869" y="4814307"/>
                </a:cubicBezTo>
                <a:cubicBezTo>
                  <a:pt x="3349257" y="4842882"/>
                  <a:pt x="3196856" y="4833357"/>
                  <a:pt x="3100019" y="4757157"/>
                </a:cubicBezTo>
                <a:cubicBezTo>
                  <a:pt x="3003182" y="4680957"/>
                  <a:pt x="3092082" y="4561895"/>
                  <a:pt x="2842844" y="4357107"/>
                </a:cubicBezTo>
                <a:cubicBezTo>
                  <a:pt x="2593606" y="4152319"/>
                  <a:pt x="1979244" y="3837994"/>
                  <a:pt x="1604594" y="3528432"/>
                </a:cubicBezTo>
                <a:cubicBezTo>
                  <a:pt x="1229944" y="3218870"/>
                  <a:pt x="856882" y="2720395"/>
                  <a:pt x="594944" y="2499732"/>
                </a:cubicBezTo>
                <a:cubicBezTo>
                  <a:pt x="333007" y="2279070"/>
                  <a:pt x="105994" y="2313994"/>
                  <a:pt x="32969" y="2204457"/>
                </a:cubicBezTo>
                <a:cubicBezTo>
                  <a:pt x="-40056" y="2094920"/>
                  <a:pt x="15506" y="2090157"/>
                  <a:pt x="128219" y="1832982"/>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8" name="Prostokąt 57">
            <a:extLst>
              <a:ext uri="{FF2B5EF4-FFF2-40B4-BE49-F238E27FC236}">
                <a16:creationId xmlns:a16="http://schemas.microsoft.com/office/drawing/2014/main" id="{27C36A32-FF58-46CF-B832-079B92F23C8A}"/>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9" name="Prostokąt 58">
            <a:extLst>
              <a:ext uri="{FF2B5EF4-FFF2-40B4-BE49-F238E27FC236}">
                <a16:creationId xmlns:a16="http://schemas.microsoft.com/office/drawing/2014/main" id="{1115FDB3-8909-4D03-8AB3-007CA370CBA8}"/>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60" name="Prostokąt 59">
            <a:extLst>
              <a:ext uri="{FF2B5EF4-FFF2-40B4-BE49-F238E27FC236}">
                <a16:creationId xmlns:a16="http://schemas.microsoft.com/office/drawing/2014/main" id="{E69F5BF9-0B01-4BFB-A849-3EEF86C9205A}"/>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61" name="Obraz 60">
            <a:extLst>
              <a:ext uri="{FF2B5EF4-FFF2-40B4-BE49-F238E27FC236}">
                <a16:creationId xmlns:a16="http://schemas.microsoft.com/office/drawing/2014/main" id="{D6AF4275-BF0D-4D79-BA3B-2A4365209804}"/>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62" name="Obraz 61">
            <a:extLst>
              <a:ext uri="{FF2B5EF4-FFF2-40B4-BE49-F238E27FC236}">
                <a16:creationId xmlns:a16="http://schemas.microsoft.com/office/drawing/2014/main" id="{F9DA4809-83CF-4D06-9AEF-4A1E6F56B5D0}"/>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63" name="Obraz 62">
            <a:extLst>
              <a:ext uri="{FF2B5EF4-FFF2-40B4-BE49-F238E27FC236}">
                <a16:creationId xmlns:a16="http://schemas.microsoft.com/office/drawing/2014/main" id="{ACB12B14-7538-4D3B-8F81-6E9567A67269}"/>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64" name="Łącznik prosty ze strzałką 63">
            <a:extLst>
              <a:ext uri="{FF2B5EF4-FFF2-40B4-BE49-F238E27FC236}">
                <a16:creationId xmlns:a16="http://schemas.microsoft.com/office/drawing/2014/main" id="{2300AF04-FBE5-4AD7-835D-6352378A64E1}"/>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5" name="Łącznik prosty ze strzałką 64">
            <a:extLst>
              <a:ext uri="{FF2B5EF4-FFF2-40B4-BE49-F238E27FC236}">
                <a16:creationId xmlns:a16="http://schemas.microsoft.com/office/drawing/2014/main" id="{39E4F6F3-5265-4ECE-A1F5-E0BE85E9DAE8}"/>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7" name="Łącznik prosty ze strzałką 66">
            <a:extLst>
              <a:ext uri="{FF2B5EF4-FFF2-40B4-BE49-F238E27FC236}">
                <a16:creationId xmlns:a16="http://schemas.microsoft.com/office/drawing/2014/main" id="{C52A5D9D-BD3D-478A-A8BC-927A5FD216D9}"/>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8" name="Łącznik prosty ze strzałką 67">
            <a:extLst>
              <a:ext uri="{FF2B5EF4-FFF2-40B4-BE49-F238E27FC236}">
                <a16:creationId xmlns:a16="http://schemas.microsoft.com/office/drawing/2014/main" id="{4E75B591-25B8-45F7-9321-FD924B66ACB6}"/>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pic>
        <p:nvPicPr>
          <p:cNvPr id="70" name="Obraz 69">
            <a:extLst>
              <a:ext uri="{FF2B5EF4-FFF2-40B4-BE49-F238E27FC236}">
                <a16:creationId xmlns:a16="http://schemas.microsoft.com/office/drawing/2014/main" id="{CE1BF0A1-24AD-4A0C-8B91-6EC19A03D505}"/>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71" name="Obraz 70">
            <a:extLst>
              <a:ext uri="{FF2B5EF4-FFF2-40B4-BE49-F238E27FC236}">
                <a16:creationId xmlns:a16="http://schemas.microsoft.com/office/drawing/2014/main" id="{32A5E629-8231-400B-B029-34ECB359F6A9}"/>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15" name="Dowolny kształt: kształt 14">
            <a:extLst>
              <a:ext uri="{FF2B5EF4-FFF2-40B4-BE49-F238E27FC236}">
                <a16:creationId xmlns:a16="http://schemas.microsoft.com/office/drawing/2014/main" id="{E1209423-57AA-4147-92A7-5049052B75EB}"/>
              </a:ext>
            </a:extLst>
          </p:cNvPr>
          <p:cNvSpPr/>
          <p:nvPr/>
        </p:nvSpPr>
        <p:spPr>
          <a:xfrm>
            <a:off x="3863284" y="175518"/>
            <a:ext cx="8084332" cy="6451888"/>
          </a:xfrm>
          <a:custGeom>
            <a:avLst/>
            <a:gdLst>
              <a:gd name="connsiteX0" fmla="*/ 309337 w 8084332"/>
              <a:gd name="connsiteY0" fmla="*/ 5458086 h 6451888"/>
              <a:gd name="connsiteX1" fmla="*/ 4537 w 8084332"/>
              <a:gd name="connsiteY1" fmla="*/ 5772411 h 6451888"/>
              <a:gd name="connsiteX2" fmla="*/ 566512 w 8084332"/>
              <a:gd name="connsiteY2" fmla="*/ 6115311 h 6451888"/>
              <a:gd name="connsiteX3" fmla="*/ 1385662 w 8084332"/>
              <a:gd name="connsiteY3" fmla="*/ 6439161 h 6451888"/>
              <a:gd name="connsiteX4" fmla="*/ 4614637 w 8084332"/>
              <a:gd name="connsiteY4" fmla="*/ 6391536 h 6451888"/>
              <a:gd name="connsiteX5" fmla="*/ 7872187 w 8084332"/>
              <a:gd name="connsiteY5" fmla="*/ 6296286 h 6451888"/>
              <a:gd name="connsiteX6" fmla="*/ 7662637 w 8084332"/>
              <a:gd name="connsiteY6" fmla="*/ 5915286 h 6451888"/>
              <a:gd name="connsiteX7" fmla="*/ 7843612 w 8084332"/>
              <a:gd name="connsiteY7" fmla="*/ 5734311 h 6451888"/>
              <a:gd name="connsiteX8" fmla="*/ 8072212 w 8084332"/>
              <a:gd name="connsiteY8" fmla="*/ 5162811 h 6451888"/>
              <a:gd name="connsiteX9" fmla="*/ 7443562 w 8084332"/>
              <a:gd name="connsiteY9" fmla="*/ 4153161 h 6451888"/>
              <a:gd name="connsiteX10" fmla="*/ 7938862 w 8084332"/>
              <a:gd name="connsiteY10" fmla="*/ 2429136 h 6451888"/>
              <a:gd name="connsiteX11" fmla="*/ 7834087 w 8084332"/>
              <a:gd name="connsiteY11" fmla="*/ 1352811 h 6451888"/>
              <a:gd name="connsiteX12" fmla="*/ 6605362 w 8084332"/>
              <a:gd name="connsiteY12" fmla="*/ 628911 h 6451888"/>
              <a:gd name="connsiteX13" fmla="*/ 5319487 w 8084332"/>
              <a:gd name="connsiteY13" fmla="*/ 28836 h 6451888"/>
              <a:gd name="connsiteX14" fmla="*/ 3643087 w 8084332"/>
              <a:gd name="connsiteY14" fmla="*/ 114561 h 6451888"/>
              <a:gd name="connsiteX15" fmla="*/ 2500087 w 8084332"/>
              <a:gd name="connsiteY15" fmla="*/ 286011 h 6451888"/>
              <a:gd name="connsiteX16" fmla="*/ 1519012 w 8084332"/>
              <a:gd name="connsiteY16" fmla="*/ 552711 h 6451888"/>
              <a:gd name="connsiteX17" fmla="*/ 1414237 w 8084332"/>
              <a:gd name="connsiteY17" fmla="*/ 1409961 h 6451888"/>
              <a:gd name="connsiteX18" fmla="*/ 1604737 w 8084332"/>
              <a:gd name="connsiteY18" fmla="*/ 2114811 h 6451888"/>
              <a:gd name="connsiteX19" fmla="*/ 1976212 w 8084332"/>
              <a:gd name="connsiteY19" fmla="*/ 3543561 h 6451888"/>
              <a:gd name="connsiteX20" fmla="*/ 1242787 w 8084332"/>
              <a:gd name="connsiteY20" fmla="*/ 4772286 h 6451888"/>
              <a:gd name="connsiteX21" fmla="*/ 452212 w 8084332"/>
              <a:gd name="connsiteY21" fmla="*/ 5429511 h 6451888"/>
              <a:gd name="connsiteX22" fmla="*/ 309337 w 8084332"/>
              <a:gd name="connsiteY22" fmla="*/ 5458086 h 645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84332" h="6451888">
                <a:moveTo>
                  <a:pt x="309337" y="5458086"/>
                </a:moveTo>
                <a:cubicBezTo>
                  <a:pt x="234724" y="5515236"/>
                  <a:pt x="-38325" y="5662874"/>
                  <a:pt x="4537" y="5772411"/>
                </a:cubicBezTo>
                <a:cubicBezTo>
                  <a:pt x="47399" y="5881948"/>
                  <a:pt x="336325" y="6004186"/>
                  <a:pt x="566512" y="6115311"/>
                </a:cubicBezTo>
                <a:cubicBezTo>
                  <a:pt x="796699" y="6226436"/>
                  <a:pt x="710975" y="6393124"/>
                  <a:pt x="1385662" y="6439161"/>
                </a:cubicBezTo>
                <a:cubicBezTo>
                  <a:pt x="2060350" y="6485199"/>
                  <a:pt x="4614637" y="6391536"/>
                  <a:pt x="4614637" y="6391536"/>
                </a:cubicBezTo>
                <a:cubicBezTo>
                  <a:pt x="5695724" y="6367724"/>
                  <a:pt x="7364187" y="6375661"/>
                  <a:pt x="7872187" y="6296286"/>
                </a:cubicBezTo>
                <a:cubicBezTo>
                  <a:pt x="8380187" y="6216911"/>
                  <a:pt x="7667399" y="6008948"/>
                  <a:pt x="7662637" y="5915286"/>
                </a:cubicBezTo>
                <a:cubicBezTo>
                  <a:pt x="7657875" y="5821624"/>
                  <a:pt x="7775350" y="5859723"/>
                  <a:pt x="7843612" y="5734311"/>
                </a:cubicBezTo>
                <a:cubicBezTo>
                  <a:pt x="7911874" y="5608899"/>
                  <a:pt x="8138887" y="5426336"/>
                  <a:pt x="8072212" y="5162811"/>
                </a:cubicBezTo>
                <a:cubicBezTo>
                  <a:pt x="8005537" y="4899286"/>
                  <a:pt x="7465787" y="4608773"/>
                  <a:pt x="7443562" y="4153161"/>
                </a:cubicBezTo>
                <a:cubicBezTo>
                  <a:pt x="7421337" y="3697548"/>
                  <a:pt x="7873774" y="2895861"/>
                  <a:pt x="7938862" y="2429136"/>
                </a:cubicBezTo>
                <a:cubicBezTo>
                  <a:pt x="8003950" y="1962411"/>
                  <a:pt x="8056337" y="1652848"/>
                  <a:pt x="7834087" y="1352811"/>
                </a:cubicBezTo>
                <a:cubicBezTo>
                  <a:pt x="7611837" y="1052774"/>
                  <a:pt x="7024462" y="849573"/>
                  <a:pt x="6605362" y="628911"/>
                </a:cubicBezTo>
                <a:cubicBezTo>
                  <a:pt x="6186262" y="408248"/>
                  <a:pt x="5813199" y="114561"/>
                  <a:pt x="5319487" y="28836"/>
                </a:cubicBezTo>
                <a:cubicBezTo>
                  <a:pt x="4825775" y="-56889"/>
                  <a:pt x="4112987" y="71699"/>
                  <a:pt x="3643087" y="114561"/>
                </a:cubicBezTo>
                <a:cubicBezTo>
                  <a:pt x="3173187" y="157423"/>
                  <a:pt x="2854099" y="212986"/>
                  <a:pt x="2500087" y="286011"/>
                </a:cubicBezTo>
                <a:cubicBezTo>
                  <a:pt x="2146075" y="359036"/>
                  <a:pt x="1699987" y="365386"/>
                  <a:pt x="1519012" y="552711"/>
                </a:cubicBezTo>
                <a:cubicBezTo>
                  <a:pt x="1338037" y="740036"/>
                  <a:pt x="1399950" y="1149611"/>
                  <a:pt x="1414237" y="1409961"/>
                </a:cubicBezTo>
                <a:cubicBezTo>
                  <a:pt x="1428525" y="1670311"/>
                  <a:pt x="1511075" y="1759211"/>
                  <a:pt x="1604737" y="2114811"/>
                </a:cubicBezTo>
                <a:cubicBezTo>
                  <a:pt x="1698399" y="2470411"/>
                  <a:pt x="2036537" y="3100649"/>
                  <a:pt x="1976212" y="3543561"/>
                </a:cubicBezTo>
                <a:cubicBezTo>
                  <a:pt x="1915887" y="3986473"/>
                  <a:pt x="1496787" y="4457961"/>
                  <a:pt x="1242787" y="4772286"/>
                </a:cubicBezTo>
                <a:cubicBezTo>
                  <a:pt x="988787" y="5086611"/>
                  <a:pt x="604612" y="5316798"/>
                  <a:pt x="452212" y="5429511"/>
                </a:cubicBezTo>
                <a:cubicBezTo>
                  <a:pt x="299812" y="5542224"/>
                  <a:pt x="383950" y="5400936"/>
                  <a:pt x="309337" y="5458086"/>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6" name="pole tekstowe 45">
            <a:extLst>
              <a:ext uri="{FF2B5EF4-FFF2-40B4-BE49-F238E27FC236}">
                <a16:creationId xmlns:a16="http://schemas.microsoft.com/office/drawing/2014/main" id="{6ACCA5D6-DBC0-447F-81AA-95F72D5C9B70}"/>
              </a:ext>
            </a:extLst>
          </p:cNvPr>
          <p:cNvSpPr txBox="1"/>
          <p:nvPr/>
        </p:nvSpPr>
        <p:spPr>
          <a:xfrm>
            <a:off x="6830215" y="2484264"/>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CSS isolation</a:t>
            </a:r>
          </a:p>
        </p:txBody>
      </p:sp>
      <p:sp>
        <p:nvSpPr>
          <p:cNvPr id="47" name="pole tekstowe 46">
            <a:extLst>
              <a:ext uri="{FF2B5EF4-FFF2-40B4-BE49-F238E27FC236}">
                <a16:creationId xmlns:a16="http://schemas.microsoft.com/office/drawing/2014/main" id="{2161EE13-E270-4E05-8353-85214530FAE0}"/>
              </a:ext>
            </a:extLst>
          </p:cNvPr>
          <p:cNvSpPr txBox="1"/>
          <p:nvPr/>
        </p:nvSpPr>
        <p:spPr>
          <a:xfrm>
            <a:off x="7330264" y="3128891"/>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Web Essentials</a:t>
            </a:r>
          </a:p>
        </p:txBody>
      </p:sp>
      <p:sp>
        <p:nvSpPr>
          <p:cNvPr id="48" name="pole tekstowe 47">
            <a:extLst>
              <a:ext uri="{FF2B5EF4-FFF2-40B4-BE49-F238E27FC236}">
                <a16:creationId xmlns:a16="http://schemas.microsoft.com/office/drawing/2014/main" id="{CECCF168-9441-43D5-A7E6-797FCCCA8620}"/>
              </a:ext>
            </a:extLst>
          </p:cNvPr>
          <p:cNvSpPr txBox="1"/>
          <p:nvPr/>
        </p:nvSpPr>
        <p:spPr>
          <a:xfrm>
            <a:off x="7762264" y="3771814"/>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inherits directive</a:t>
            </a:r>
          </a:p>
        </p:txBody>
      </p:sp>
      <p:sp>
        <p:nvSpPr>
          <p:cNvPr id="49" name="pole tekstowe 48">
            <a:extLst>
              <a:ext uri="{FF2B5EF4-FFF2-40B4-BE49-F238E27FC236}">
                <a16:creationId xmlns:a16="http://schemas.microsoft.com/office/drawing/2014/main" id="{9CD7A976-107A-41AE-85A8-4B238FE5FD73}"/>
              </a:ext>
            </a:extLst>
          </p:cNvPr>
          <p:cNvSpPr txBox="1"/>
          <p:nvPr/>
        </p:nvSpPr>
        <p:spPr>
          <a:xfrm>
            <a:off x="8233465" y="4414737"/>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Lifecycle</a:t>
            </a:r>
          </a:p>
        </p:txBody>
      </p:sp>
    </p:spTree>
    <p:extLst>
      <p:ext uri="{BB962C8B-B14F-4D97-AF65-F5344CB8AC3E}">
        <p14:creationId xmlns:p14="http://schemas.microsoft.com/office/powerpoint/2010/main" val="14755718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2">
            <a:extLst>
              <a:ext uri="{FF2B5EF4-FFF2-40B4-BE49-F238E27FC236}">
                <a16:creationId xmlns:a16="http://schemas.microsoft.com/office/drawing/2014/main" id="{0D19F749-E505-4672-B693-E56A69D73E0E}"/>
              </a:ext>
            </a:extLst>
          </p:cNvPr>
          <p:cNvSpPr>
            <a:spLocks noGrp="1"/>
          </p:cNvSpPr>
          <p:nvPr>
            <p:ph type="title"/>
          </p:nvPr>
        </p:nvSpPr>
        <p:spPr>
          <a:xfrm>
            <a:off x="6600000" y="1197000"/>
            <a:ext cx="4500650" cy="1830078"/>
          </a:xfrm>
        </p:spPr>
        <p:txBody>
          <a:bodyPr/>
          <a:lstStyle/>
          <a:p>
            <a:pPr algn="ctr"/>
            <a:r>
              <a:rPr lang="pl-PL" sz="4000" dirty="0">
                <a:solidFill>
                  <a:srgbClr val="0070AD"/>
                </a:solidFill>
                <a:latin typeface="Ubuntu" panose="020B0804030602030204" pitchFamily="34" charset="0"/>
              </a:rPr>
              <a:t>Demo #0</a:t>
            </a:r>
            <a:r>
              <a:rPr lang="en-US" sz="4000" dirty="0">
                <a:solidFill>
                  <a:srgbClr val="0070AD"/>
                </a:solidFill>
                <a:latin typeface="Ubuntu" panose="020B0804030602030204" pitchFamily="34" charset="0"/>
              </a:rPr>
              <a:t>4</a:t>
            </a:r>
            <a:endParaRPr lang="en-GB" sz="4000" dirty="0">
              <a:solidFill>
                <a:srgbClr val="0070AD"/>
              </a:solidFill>
              <a:latin typeface="Ubuntu" panose="020B0804030602030204" pitchFamily="34" charset="0"/>
            </a:endParaRPr>
          </a:p>
        </p:txBody>
      </p:sp>
      <p:pic>
        <p:nvPicPr>
          <p:cNvPr id="27" name="Obraz 26">
            <a:extLst>
              <a:ext uri="{FF2B5EF4-FFF2-40B4-BE49-F238E27FC236}">
                <a16:creationId xmlns:a16="http://schemas.microsoft.com/office/drawing/2014/main" id="{C461FE0C-C942-476F-95D0-8836F9B06C24}"/>
              </a:ext>
            </a:extLst>
          </p:cNvPr>
          <p:cNvPicPr>
            <a:picLocks noChangeAspect="1"/>
          </p:cNvPicPr>
          <p:nvPr/>
        </p:nvPicPr>
        <p:blipFill>
          <a:blip r:embed="rId3"/>
          <a:stretch>
            <a:fillRect/>
          </a:stretch>
        </p:blipFill>
        <p:spPr>
          <a:xfrm>
            <a:off x="480000" y="4221000"/>
            <a:ext cx="2219325" cy="2209800"/>
          </a:xfrm>
          <a:prstGeom prst="rect">
            <a:avLst/>
          </a:prstGeom>
        </p:spPr>
      </p:pic>
      <p:pic>
        <p:nvPicPr>
          <p:cNvPr id="28" name="Obraz 27">
            <a:extLst>
              <a:ext uri="{FF2B5EF4-FFF2-40B4-BE49-F238E27FC236}">
                <a16:creationId xmlns:a16="http://schemas.microsoft.com/office/drawing/2014/main" id="{AE003FAA-CB12-4E25-BCDC-FE0C0FBFA91E}"/>
              </a:ext>
            </a:extLst>
          </p:cNvPr>
          <p:cNvPicPr>
            <a:picLocks noChangeAspect="1"/>
          </p:cNvPicPr>
          <p:nvPr/>
        </p:nvPicPr>
        <p:blipFill>
          <a:blip r:embed="rId4">
            <a:clrChange>
              <a:clrFrom>
                <a:srgbClr val="F2F2F2"/>
              </a:clrFrom>
              <a:clrTo>
                <a:srgbClr val="F2F2F2">
                  <a:alpha val="0"/>
                </a:srgbClr>
              </a:clrTo>
            </a:clrChange>
          </a:blip>
          <a:stretch>
            <a:fillRect/>
          </a:stretch>
        </p:blipFill>
        <p:spPr>
          <a:xfrm>
            <a:off x="9552000" y="4221000"/>
            <a:ext cx="2314575" cy="2305050"/>
          </a:xfrm>
          <a:prstGeom prst="rect">
            <a:avLst/>
          </a:prstGeom>
        </p:spPr>
      </p:pic>
      <p:sp>
        <p:nvSpPr>
          <p:cNvPr id="29" name="Freeform 241">
            <a:extLst>
              <a:ext uri="{FF2B5EF4-FFF2-40B4-BE49-F238E27FC236}">
                <a16:creationId xmlns:a16="http://schemas.microsoft.com/office/drawing/2014/main" id="{B0B1B61E-25CB-4DCB-9501-80F78274017A}"/>
              </a:ext>
            </a:extLst>
          </p:cNvPr>
          <p:cNvSpPr>
            <a:spLocks/>
          </p:cNvSpPr>
          <p:nvPr/>
        </p:nvSpPr>
        <p:spPr bwMode="auto">
          <a:xfrm>
            <a:off x="7125465" y="1629000"/>
            <a:ext cx="204224" cy="137143"/>
          </a:xfrm>
          <a:custGeom>
            <a:avLst/>
            <a:gdLst>
              <a:gd name="T0" fmla="*/ 12 w 58"/>
              <a:gd name="T1" fmla="*/ 10 h 39"/>
              <a:gd name="T2" fmla="*/ 22 w 58"/>
              <a:gd name="T3" fmla="*/ 29 h 39"/>
              <a:gd name="T4" fmla="*/ 11 w 58"/>
              <a:gd name="T5" fmla="*/ 36 h 39"/>
              <a:gd name="T6" fmla="*/ 44 w 58"/>
              <a:gd name="T7" fmla="*/ 39 h 39"/>
              <a:gd name="T8" fmla="*/ 58 w 58"/>
              <a:gd name="T9" fmla="*/ 8 h 39"/>
              <a:gd name="T10" fmla="*/ 47 w 58"/>
              <a:gd name="T11" fmla="*/ 15 h 39"/>
              <a:gd name="T12" fmla="*/ 33 w 58"/>
              <a:gd name="T13" fmla="*/ 0 h 39"/>
              <a:gd name="T14" fmla="*/ 0 w 58"/>
              <a:gd name="T15" fmla="*/ 0 h 39"/>
              <a:gd name="T16" fmla="*/ 12 w 58"/>
              <a:gd name="T17"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9">
                <a:moveTo>
                  <a:pt x="12" y="10"/>
                </a:moveTo>
                <a:cubicBezTo>
                  <a:pt x="16" y="16"/>
                  <a:pt x="19" y="22"/>
                  <a:pt x="22" y="29"/>
                </a:cubicBezTo>
                <a:cubicBezTo>
                  <a:pt x="11" y="36"/>
                  <a:pt x="11" y="36"/>
                  <a:pt x="11" y="36"/>
                </a:cubicBezTo>
                <a:cubicBezTo>
                  <a:pt x="44" y="39"/>
                  <a:pt x="44" y="39"/>
                  <a:pt x="44" y="39"/>
                </a:cubicBezTo>
                <a:cubicBezTo>
                  <a:pt x="58" y="8"/>
                  <a:pt x="58" y="8"/>
                  <a:pt x="58" y="8"/>
                </a:cubicBezTo>
                <a:cubicBezTo>
                  <a:pt x="47" y="15"/>
                  <a:pt x="47" y="15"/>
                  <a:pt x="47" y="15"/>
                </a:cubicBezTo>
                <a:cubicBezTo>
                  <a:pt x="43" y="8"/>
                  <a:pt x="39" y="3"/>
                  <a:pt x="33" y="0"/>
                </a:cubicBezTo>
                <a:cubicBezTo>
                  <a:pt x="22" y="0"/>
                  <a:pt x="11" y="0"/>
                  <a:pt x="0" y="0"/>
                </a:cubicBezTo>
                <a:cubicBezTo>
                  <a:pt x="4" y="0"/>
                  <a:pt x="9" y="4"/>
                  <a:pt x="12" y="10"/>
                </a:cubicBez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243">
            <a:extLst>
              <a:ext uri="{FF2B5EF4-FFF2-40B4-BE49-F238E27FC236}">
                <a16:creationId xmlns:a16="http://schemas.microsoft.com/office/drawing/2014/main" id="{C031AA6A-C0F3-4FC4-A8E1-B626CD696280}"/>
              </a:ext>
            </a:extLst>
          </p:cNvPr>
          <p:cNvSpPr>
            <a:spLocks/>
          </p:cNvSpPr>
          <p:nvPr/>
        </p:nvSpPr>
        <p:spPr bwMode="auto">
          <a:xfrm>
            <a:off x="7185092" y="1843658"/>
            <a:ext cx="193789" cy="195280"/>
          </a:xfrm>
          <a:custGeom>
            <a:avLst/>
            <a:gdLst>
              <a:gd name="T0" fmla="*/ 41 w 55"/>
              <a:gd name="T1" fmla="*/ 14 h 55"/>
              <a:gd name="T2" fmla="*/ 19 w 55"/>
              <a:gd name="T3" fmla="*/ 13 h 55"/>
              <a:gd name="T4" fmla="*/ 19 w 55"/>
              <a:gd name="T5" fmla="*/ 0 h 55"/>
              <a:gd name="T6" fmla="*/ 0 w 55"/>
              <a:gd name="T7" fmla="*/ 27 h 55"/>
              <a:gd name="T8" fmla="*/ 20 w 55"/>
              <a:gd name="T9" fmla="*/ 55 h 55"/>
              <a:gd name="T10" fmla="*/ 20 w 55"/>
              <a:gd name="T11" fmla="*/ 41 h 55"/>
              <a:gd name="T12" fmla="*/ 39 w 55"/>
              <a:gd name="T13" fmla="*/ 37 h 55"/>
              <a:gd name="T14" fmla="*/ 55 w 55"/>
              <a:gd name="T15" fmla="*/ 8 h 55"/>
              <a:gd name="T16" fmla="*/ 41 w 55"/>
              <a:gd name="T17"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41" y="14"/>
                </a:moveTo>
                <a:cubicBezTo>
                  <a:pt x="34" y="14"/>
                  <a:pt x="27" y="14"/>
                  <a:pt x="19" y="13"/>
                </a:cubicBezTo>
                <a:cubicBezTo>
                  <a:pt x="19" y="0"/>
                  <a:pt x="19" y="0"/>
                  <a:pt x="19" y="0"/>
                </a:cubicBezTo>
                <a:cubicBezTo>
                  <a:pt x="0" y="27"/>
                  <a:pt x="0" y="27"/>
                  <a:pt x="0" y="27"/>
                </a:cubicBezTo>
                <a:cubicBezTo>
                  <a:pt x="20" y="55"/>
                  <a:pt x="20" y="55"/>
                  <a:pt x="20" y="55"/>
                </a:cubicBezTo>
                <a:cubicBezTo>
                  <a:pt x="20" y="41"/>
                  <a:pt x="20" y="41"/>
                  <a:pt x="20" y="41"/>
                </a:cubicBezTo>
                <a:cubicBezTo>
                  <a:pt x="27" y="42"/>
                  <a:pt x="34" y="41"/>
                  <a:pt x="39" y="37"/>
                </a:cubicBezTo>
                <a:cubicBezTo>
                  <a:pt x="44" y="27"/>
                  <a:pt x="50" y="17"/>
                  <a:pt x="55" y="8"/>
                </a:cubicBezTo>
                <a:cubicBezTo>
                  <a:pt x="53" y="12"/>
                  <a:pt x="48" y="13"/>
                  <a:pt x="41" y="14"/>
                </a:cubicBezTo>
                <a:close/>
              </a:path>
            </a:pathLst>
          </a:custGeom>
          <a:solidFill>
            <a:srgbClr val="5C2D91"/>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245">
            <a:extLst>
              <a:ext uri="{FF2B5EF4-FFF2-40B4-BE49-F238E27FC236}">
                <a16:creationId xmlns:a16="http://schemas.microsoft.com/office/drawing/2014/main" id="{BC93DF09-515A-410B-A5DD-8B3FBC6FADC8}"/>
              </a:ext>
            </a:extLst>
          </p:cNvPr>
          <p:cNvSpPr>
            <a:spLocks/>
          </p:cNvSpPr>
          <p:nvPr/>
        </p:nvSpPr>
        <p:spPr bwMode="auto">
          <a:xfrm>
            <a:off x="6960000" y="1776577"/>
            <a:ext cx="175900" cy="205714"/>
          </a:xfrm>
          <a:custGeom>
            <a:avLst/>
            <a:gdLst>
              <a:gd name="T0" fmla="*/ 28 w 50"/>
              <a:gd name="T1" fmla="*/ 43 h 58"/>
              <a:gd name="T2" fmla="*/ 38 w 50"/>
              <a:gd name="T3" fmla="*/ 24 h 58"/>
              <a:gd name="T4" fmla="*/ 50 w 50"/>
              <a:gd name="T5" fmla="*/ 30 h 58"/>
              <a:gd name="T6" fmla="*/ 33 w 50"/>
              <a:gd name="T7" fmla="*/ 0 h 58"/>
              <a:gd name="T8" fmla="*/ 0 w 50"/>
              <a:gd name="T9" fmla="*/ 6 h 58"/>
              <a:gd name="T10" fmla="*/ 12 w 50"/>
              <a:gd name="T11" fmla="*/ 12 h 58"/>
              <a:gd name="T12" fmla="*/ 8 w 50"/>
              <a:gd name="T13" fmla="*/ 31 h 58"/>
              <a:gd name="T14" fmla="*/ 27 w 50"/>
              <a:gd name="T15" fmla="*/ 58 h 58"/>
              <a:gd name="T16" fmla="*/ 28 w 50"/>
              <a:gd name="T17" fmla="*/ 4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8">
                <a:moveTo>
                  <a:pt x="28" y="43"/>
                </a:moveTo>
                <a:cubicBezTo>
                  <a:pt x="31" y="36"/>
                  <a:pt x="34" y="30"/>
                  <a:pt x="38" y="24"/>
                </a:cubicBezTo>
                <a:cubicBezTo>
                  <a:pt x="50" y="30"/>
                  <a:pt x="50" y="30"/>
                  <a:pt x="50" y="30"/>
                </a:cubicBezTo>
                <a:cubicBezTo>
                  <a:pt x="33" y="0"/>
                  <a:pt x="33" y="0"/>
                  <a:pt x="33" y="0"/>
                </a:cubicBezTo>
                <a:cubicBezTo>
                  <a:pt x="0" y="6"/>
                  <a:pt x="0" y="6"/>
                  <a:pt x="0" y="6"/>
                </a:cubicBezTo>
                <a:cubicBezTo>
                  <a:pt x="12" y="12"/>
                  <a:pt x="12" y="12"/>
                  <a:pt x="12" y="12"/>
                </a:cubicBezTo>
                <a:cubicBezTo>
                  <a:pt x="9" y="18"/>
                  <a:pt x="7" y="25"/>
                  <a:pt x="8" y="31"/>
                </a:cubicBezTo>
                <a:cubicBezTo>
                  <a:pt x="14" y="40"/>
                  <a:pt x="21" y="49"/>
                  <a:pt x="27" y="58"/>
                </a:cubicBezTo>
                <a:cubicBezTo>
                  <a:pt x="24" y="55"/>
                  <a:pt x="25" y="49"/>
                  <a:pt x="28" y="43"/>
                </a:cubicBezTo>
                <a:close/>
              </a:path>
            </a:pathLst>
          </a:custGeom>
          <a:solidFill>
            <a:srgbClr val="A0428A"/>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70657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13" name="Dowolny kształt: kształt 12">
            <a:extLst>
              <a:ext uri="{FF2B5EF4-FFF2-40B4-BE49-F238E27FC236}">
                <a16:creationId xmlns:a16="http://schemas.microsoft.com/office/drawing/2014/main" id="{6C71BDA3-A4BA-4832-A6DA-F5DE07AE75AA}"/>
              </a:ext>
            </a:extLst>
          </p:cNvPr>
          <p:cNvSpPr/>
          <p:nvPr/>
        </p:nvSpPr>
        <p:spPr>
          <a:xfrm>
            <a:off x="71806" y="338718"/>
            <a:ext cx="5125124" cy="4829123"/>
          </a:xfrm>
          <a:custGeom>
            <a:avLst/>
            <a:gdLst>
              <a:gd name="connsiteX0" fmla="*/ 128219 w 5125124"/>
              <a:gd name="connsiteY0" fmla="*/ 1832982 h 4829123"/>
              <a:gd name="connsiteX1" fmla="*/ 709244 w 5125124"/>
              <a:gd name="connsiteY1" fmla="*/ 661407 h 4829123"/>
              <a:gd name="connsiteX2" fmla="*/ 1109294 w 5125124"/>
              <a:gd name="connsiteY2" fmla="*/ 70857 h 4829123"/>
              <a:gd name="connsiteX3" fmla="*/ 2233244 w 5125124"/>
              <a:gd name="connsiteY3" fmla="*/ 32757 h 4829123"/>
              <a:gd name="connsiteX4" fmla="*/ 3461969 w 5125124"/>
              <a:gd name="connsiteY4" fmla="*/ 270882 h 4829123"/>
              <a:gd name="connsiteX5" fmla="*/ 4585919 w 5125124"/>
              <a:gd name="connsiteY5" fmla="*/ 1232907 h 4829123"/>
              <a:gd name="connsiteX6" fmla="*/ 5100269 w 5125124"/>
              <a:gd name="connsiteY6" fmla="*/ 3118857 h 4829123"/>
              <a:gd name="connsiteX7" fmla="*/ 3842969 w 5125124"/>
              <a:gd name="connsiteY7" fmla="*/ 4195182 h 4829123"/>
              <a:gd name="connsiteX8" fmla="*/ 3547694 w 5125124"/>
              <a:gd name="connsiteY8" fmla="*/ 4585707 h 4829123"/>
              <a:gd name="connsiteX9" fmla="*/ 3423869 w 5125124"/>
              <a:gd name="connsiteY9" fmla="*/ 4814307 h 4829123"/>
              <a:gd name="connsiteX10" fmla="*/ 3100019 w 5125124"/>
              <a:gd name="connsiteY10" fmla="*/ 4757157 h 4829123"/>
              <a:gd name="connsiteX11" fmla="*/ 2842844 w 5125124"/>
              <a:gd name="connsiteY11" fmla="*/ 4357107 h 4829123"/>
              <a:gd name="connsiteX12" fmla="*/ 1604594 w 5125124"/>
              <a:gd name="connsiteY12" fmla="*/ 3528432 h 4829123"/>
              <a:gd name="connsiteX13" fmla="*/ 594944 w 5125124"/>
              <a:gd name="connsiteY13" fmla="*/ 2499732 h 4829123"/>
              <a:gd name="connsiteX14" fmla="*/ 32969 w 5125124"/>
              <a:gd name="connsiteY14" fmla="*/ 2204457 h 4829123"/>
              <a:gd name="connsiteX15" fmla="*/ 128219 w 5125124"/>
              <a:gd name="connsiteY15" fmla="*/ 1832982 h 482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25124" h="4829123">
                <a:moveTo>
                  <a:pt x="128219" y="1832982"/>
                </a:moveTo>
                <a:cubicBezTo>
                  <a:pt x="240932" y="1575807"/>
                  <a:pt x="545732" y="955094"/>
                  <a:pt x="709244" y="661407"/>
                </a:cubicBezTo>
                <a:cubicBezTo>
                  <a:pt x="872756" y="367720"/>
                  <a:pt x="855294" y="175632"/>
                  <a:pt x="1109294" y="70857"/>
                </a:cubicBezTo>
                <a:cubicBezTo>
                  <a:pt x="1363294" y="-33918"/>
                  <a:pt x="1841132" y="-580"/>
                  <a:pt x="2233244" y="32757"/>
                </a:cubicBezTo>
                <a:cubicBezTo>
                  <a:pt x="2625356" y="66094"/>
                  <a:pt x="3069857" y="70857"/>
                  <a:pt x="3461969" y="270882"/>
                </a:cubicBezTo>
                <a:cubicBezTo>
                  <a:pt x="3854081" y="470907"/>
                  <a:pt x="4312869" y="758245"/>
                  <a:pt x="4585919" y="1232907"/>
                </a:cubicBezTo>
                <a:cubicBezTo>
                  <a:pt x="4858969" y="1707569"/>
                  <a:pt x="5224094" y="2625145"/>
                  <a:pt x="5100269" y="3118857"/>
                </a:cubicBezTo>
                <a:cubicBezTo>
                  <a:pt x="4976444" y="3612569"/>
                  <a:pt x="4101732" y="3950707"/>
                  <a:pt x="3842969" y="4195182"/>
                </a:cubicBezTo>
                <a:cubicBezTo>
                  <a:pt x="3584207" y="4439657"/>
                  <a:pt x="3617544" y="4482520"/>
                  <a:pt x="3547694" y="4585707"/>
                </a:cubicBezTo>
                <a:cubicBezTo>
                  <a:pt x="3477844" y="4688894"/>
                  <a:pt x="3498481" y="4785732"/>
                  <a:pt x="3423869" y="4814307"/>
                </a:cubicBezTo>
                <a:cubicBezTo>
                  <a:pt x="3349257" y="4842882"/>
                  <a:pt x="3196856" y="4833357"/>
                  <a:pt x="3100019" y="4757157"/>
                </a:cubicBezTo>
                <a:cubicBezTo>
                  <a:pt x="3003182" y="4680957"/>
                  <a:pt x="3092082" y="4561895"/>
                  <a:pt x="2842844" y="4357107"/>
                </a:cubicBezTo>
                <a:cubicBezTo>
                  <a:pt x="2593606" y="4152319"/>
                  <a:pt x="1979244" y="3837994"/>
                  <a:pt x="1604594" y="3528432"/>
                </a:cubicBezTo>
                <a:cubicBezTo>
                  <a:pt x="1229944" y="3218870"/>
                  <a:pt x="856882" y="2720395"/>
                  <a:pt x="594944" y="2499732"/>
                </a:cubicBezTo>
                <a:cubicBezTo>
                  <a:pt x="333007" y="2279070"/>
                  <a:pt x="105994" y="2313994"/>
                  <a:pt x="32969" y="2204457"/>
                </a:cubicBezTo>
                <a:cubicBezTo>
                  <a:pt x="-40056" y="2094920"/>
                  <a:pt x="15506" y="2090157"/>
                  <a:pt x="128219" y="1832982"/>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6" name="Prostokąt 55">
            <a:extLst>
              <a:ext uri="{FF2B5EF4-FFF2-40B4-BE49-F238E27FC236}">
                <a16:creationId xmlns:a16="http://schemas.microsoft.com/office/drawing/2014/main" id="{455A4E43-1869-4ABB-ABEF-CF10A6269992}"/>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7" name="Prostokąt 56">
            <a:extLst>
              <a:ext uri="{FF2B5EF4-FFF2-40B4-BE49-F238E27FC236}">
                <a16:creationId xmlns:a16="http://schemas.microsoft.com/office/drawing/2014/main" id="{CE622D33-E18F-4ADE-9968-CA693F114A79}"/>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8" name="Prostokąt 57">
            <a:extLst>
              <a:ext uri="{FF2B5EF4-FFF2-40B4-BE49-F238E27FC236}">
                <a16:creationId xmlns:a16="http://schemas.microsoft.com/office/drawing/2014/main" id="{B3F4D19F-E73C-45E9-80F0-DD0407F6C0FB}"/>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9" name="Obraz 58">
            <a:extLst>
              <a:ext uri="{FF2B5EF4-FFF2-40B4-BE49-F238E27FC236}">
                <a16:creationId xmlns:a16="http://schemas.microsoft.com/office/drawing/2014/main" id="{DF225F84-A363-4D12-A562-243BF00D97C2}"/>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60" name="Obraz 59">
            <a:extLst>
              <a:ext uri="{FF2B5EF4-FFF2-40B4-BE49-F238E27FC236}">
                <a16:creationId xmlns:a16="http://schemas.microsoft.com/office/drawing/2014/main" id="{01A99A97-4896-47A8-8ABF-CD8484441F43}"/>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61" name="Obraz 60">
            <a:extLst>
              <a:ext uri="{FF2B5EF4-FFF2-40B4-BE49-F238E27FC236}">
                <a16:creationId xmlns:a16="http://schemas.microsoft.com/office/drawing/2014/main" id="{43D37E48-6E0D-4EB2-81F3-A28238B2F5B2}"/>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62" name="Łącznik prosty ze strzałką 61">
            <a:extLst>
              <a:ext uri="{FF2B5EF4-FFF2-40B4-BE49-F238E27FC236}">
                <a16:creationId xmlns:a16="http://schemas.microsoft.com/office/drawing/2014/main" id="{6AE3D114-513C-4387-A7C3-CFCA0FA35AC2}"/>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3" name="Łącznik prosty ze strzałką 62">
            <a:extLst>
              <a:ext uri="{FF2B5EF4-FFF2-40B4-BE49-F238E27FC236}">
                <a16:creationId xmlns:a16="http://schemas.microsoft.com/office/drawing/2014/main" id="{03044202-A3D4-4142-9706-3A05CA25CCF2}"/>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4" name="Łącznik prosty ze strzałką 63">
            <a:extLst>
              <a:ext uri="{FF2B5EF4-FFF2-40B4-BE49-F238E27FC236}">
                <a16:creationId xmlns:a16="http://schemas.microsoft.com/office/drawing/2014/main" id="{0DCB0C53-3634-4B91-939A-034E8569BAE4}"/>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5" name="Łącznik prosty ze strzałką 64">
            <a:extLst>
              <a:ext uri="{FF2B5EF4-FFF2-40B4-BE49-F238E27FC236}">
                <a16:creationId xmlns:a16="http://schemas.microsoft.com/office/drawing/2014/main" id="{F3B0DB63-E066-41C4-BD5A-AB90B47125C4}"/>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pic>
        <p:nvPicPr>
          <p:cNvPr id="67" name="Obraz 66">
            <a:extLst>
              <a:ext uri="{FF2B5EF4-FFF2-40B4-BE49-F238E27FC236}">
                <a16:creationId xmlns:a16="http://schemas.microsoft.com/office/drawing/2014/main" id="{4F23E66A-E567-4511-BDF6-359E0B730553}"/>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68" name="Obraz 67">
            <a:extLst>
              <a:ext uri="{FF2B5EF4-FFF2-40B4-BE49-F238E27FC236}">
                <a16:creationId xmlns:a16="http://schemas.microsoft.com/office/drawing/2014/main" id="{8186AE47-CDE4-44F2-BC70-27B7789A3E2A}"/>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15" name="Dowolny kształt: kształt 14">
            <a:extLst>
              <a:ext uri="{FF2B5EF4-FFF2-40B4-BE49-F238E27FC236}">
                <a16:creationId xmlns:a16="http://schemas.microsoft.com/office/drawing/2014/main" id="{E1209423-57AA-4147-92A7-5049052B75EB}"/>
              </a:ext>
            </a:extLst>
          </p:cNvPr>
          <p:cNvSpPr/>
          <p:nvPr/>
        </p:nvSpPr>
        <p:spPr>
          <a:xfrm>
            <a:off x="3907667" y="175518"/>
            <a:ext cx="8084332" cy="6451888"/>
          </a:xfrm>
          <a:custGeom>
            <a:avLst/>
            <a:gdLst>
              <a:gd name="connsiteX0" fmla="*/ 309337 w 8084332"/>
              <a:gd name="connsiteY0" fmla="*/ 5458086 h 6451888"/>
              <a:gd name="connsiteX1" fmla="*/ 4537 w 8084332"/>
              <a:gd name="connsiteY1" fmla="*/ 5772411 h 6451888"/>
              <a:gd name="connsiteX2" fmla="*/ 566512 w 8084332"/>
              <a:gd name="connsiteY2" fmla="*/ 6115311 h 6451888"/>
              <a:gd name="connsiteX3" fmla="*/ 1385662 w 8084332"/>
              <a:gd name="connsiteY3" fmla="*/ 6439161 h 6451888"/>
              <a:gd name="connsiteX4" fmla="*/ 4614637 w 8084332"/>
              <a:gd name="connsiteY4" fmla="*/ 6391536 h 6451888"/>
              <a:gd name="connsiteX5" fmla="*/ 7872187 w 8084332"/>
              <a:gd name="connsiteY5" fmla="*/ 6296286 h 6451888"/>
              <a:gd name="connsiteX6" fmla="*/ 7662637 w 8084332"/>
              <a:gd name="connsiteY6" fmla="*/ 5915286 h 6451888"/>
              <a:gd name="connsiteX7" fmla="*/ 7843612 w 8084332"/>
              <a:gd name="connsiteY7" fmla="*/ 5734311 h 6451888"/>
              <a:gd name="connsiteX8" fmla="*/ 8072212 w 8084332"/>
              <a:gd name="connsiteY8" fmla="*/ 5162811 h 6451888"/>
              <a:gd name="connsiteX9" fmla="*/ 7443562 w 8084332"/>
              <a:gd name="connsiteY9" fmla="*/ 4153161 h 6451888"/>
              <a:gd name="connsiteX10" fmla="*/ 7938862 w 8084332"/>
              <a:gd name="connsiteY10" fmla="*/ 2429136 h 6451888"/>
              <a:gd name="connsiteX11" fmla="*/ 7834087 w 8084332"/>
              <a:gd name="connsiteY11" fmla="*/ 1352811 h 6451888"/>
              <a:gd name="connsiteX12" fmla="*/ 6605362 w 8084332"/>
              <a:gd name="connsiteY12" fmla="*/ 628911 h 6451888"/>
              <a:gd name="connsiteX13" fmla="*/ 5319487 w 8084332"/>
              <a:gd name="connsiteY13" fmla="*/ 28836 h 6451888"/>
              <a:gd name="connsiteX14" fmla="*/ 3643087 w 8084332"/>
              <a:gd name="connsiteY14" fmla="*/ 114561 h 6451888"/>
              <a:gd name="connsiteX15" fmla="*/ 2500087 w 8084332"/>
              <a:gd name="connsiteY15" fmla="*/ 286011 h 6451888"/>
              <a:gd name="connsiteX16" fmla="*/ 1519012 w 8084332"/>
              <a:gd name="connsiteY16" fmla="*/ 552711 h 6451888"/>
              <a:gd name="connsiteX17" fmla="*/ 1414237 w 8084332"/>
              <a:gd name="connsiteY17" fmla="*/ 1409961 h 6451888"/>
              <a:gd name="connsiteX18" fmla="*/ 1604737 w 8084332"/>
              <a:gd name="connsiteY18" fmla="*/ 2114811 h 6451888"/>
              <a:gd name="connsiteX19" fmla="*/ 1976212 w 8084332"/>
              <a:gd name="connsiteY19" fmla="*/ 3543561 h 6451888"/>
              <a:gd name="connsiteX20" fmla="*/ 1242787 w 8084332"/>
              <a:gd name="connsiteY20" fmla="*/ 4772286 h 6451888"/>
              <a:gd name="connsiteX21" fmla="*/ 452212 w 8084332"/>
              <a:gd name="connsiteY21" fmla="*/ 5429511 h 6451888"/>
              <a:gd name="connsiteX22" fmla="*/ 309337 w 8084332"/>
              <a:gd name="connsiteY22" fmla="*/ 5458086 h 645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84332" h="6451888">
                <a:moveTo>
                  <a:pt x="309337" y="5458086"/>
                </a:moveTo>
                <a:cubicBezTo>
                  <a:pt x="234724" y="5515236"/>
                  <a:pt x="-38325" y="5662874"/>
                  <a:pt x="4537" y="5772411"/>
                </a:cubicBezTo>
                <a:cubicBezTo>
                  <a:pt x="47399" y="5881948"/>
                  <a:pt x="336325" y="6004186"/>
                  <a:pt x="566512" y="6115311"/>
                </a:cubicBezTo>
                <a:cubicBezTo>
                  <a:pt x="796699" y="6226436"/>
                  <a:pt x="710975" y="6393124"/>
                  <a:pt x="1385662" y="6439161"/>
                </a:cubicBezTo>
                <a:cubicBezTo>
                  <a:pt x="2060350" y="6485199"/>
                  <a:pt x="4614637" y="6391536"/>
                  <a:pt x="4614637" y="6391536"/>
                </a:cubicBezTo>
                <a:cubicBezTo>
                  <a:pt x="5695724" y="6367724"/>
                  <a:pt x="7364187" y="6375661"/>
                  <a:pt x="7872187" y="6296286"/>
                </a:cubicBezTo>
                <a:cubicBezTo>
                  <a:pt x="8380187" y="6216911"/>
                  <a:pt x="7667399" y="6008948"/>
                  <a:pt x="7662637" y="5915286"/>
                </a:cubicBezTo>
                <a:cubicBezTo>
                  <a:pt x="7657875" y="5821624"/>
                  <a:pt x="7775350" y="5859723"/>
                  <a:pt x="7843612" y="5734311"/>
                </a:cubicBezTo>
                <a:cubicBezTo>
                  <a:pt x="7911874" y="5608899"/>
                  <a:pt x="8138887" y="5426336"/>
                  <a:pt x="8072212" y="5162811"/>
                </a:cubicBezTo>
                <a:cubicBezTo>
                  <a:pt x="8005537" y="4899286"/>
                  <a:pt x="7465787" y="4608773"/>
                  <a:pt x="7443562" y="4153161"/>
                </a:cubicBezTo>
                <a:cubicBezTo>
                  <a:pt x="7421337" y="3697548"/>
                  <a:pt x="7873774" y="2895861"/>
                  <a:pt x="7938862" y="2429136"/>
                </a:cubicBezTo>
                <a:cubicBezTo>
                  <a:pt x="8003950" y="1962411"/>
                  <a:pt x="8056337" y="1652848"/>
                  <a:pt x="7834087" y="1352811"/>
                </a:cubicBezTo>
                <a:cubicBezTo>
                  <a:pt x="7611837" y="1052774"/>
                  <a:pt x="7024462" y="849573"/>
                  <a:pt x="6605362" y="628911"/>
                </a:cubicBezTo>
                <a:cubicBezTo>
                  <a:pt x="6186262" y="408248"/>
                  <a:pt x="5813199" y="114561"/>
                  <a:pt x="5319487" y="28836"/>
                </a:cubicBezTo>
                <a:cubicBezTo>
                  <a:pt x="4825775" y="-56889"/>
                  <a:pt x="4112987" y="71699"/>
                  <a:pt x="3643087" y="114561"/>
                </a:cubicBezTo>
                <a:cubicBezTo>
                  <a:pt x="3173187" y="157423"/>
                  <a:pt x="2854099" y="212986"/>
                  <a:pt x="2500087" y="286011"/>
                </a:cubicBezTo>
                <a:cubicBezTo>
                  <a:pt x="2146075" y="359036"/>
                  <a:pt x="1699987" y="365386"/>
                  <a:pt x="1519012" y="552711"/>
                </a:cubicBezTo>
                <a:cubicBezTo>
                  <a:pt x="1338037" y="740036"/>
                  <a:pt x="1399950" y="1149611"/>
                  <a:pt x="1414237" y="1409961"/>
                </a:cubicBezTo>
                <a:cubicBezTo>
                  <a:pt x="1428525" y="1670311"/>
                  <a:pt x="1511075" y="1759211"/>
                  <a:pt x="1604737" y="2114811"/>
                </a:cubicBezTo>
                <a:cubicBezTo>
                  <a:pt x="1698399" y="2470411"/>
                  <a:pt x="2036537" y="3100649"/>
                  <a:pt x="1976212" y="3543561"/>
                </a:cubicBezTo>
                <a:cubicBezTo>
                  <a:pt x="1915887" y="3986473"/>
                  <a:pt x="1496787" y="4457961"/>
                  <a:pt x="1242787" y="4772286"/>
                </a:cubicBezTo>
                <a:cubicBezTo>
                  <a:pt x="988787" y="5086611"/>
                  <a:pt x="604612" y="5316798"/>
                  <a:pt x="452212" y="5429511"/>
                </a:cubicBezTo>
                <a:cubicBezTo>
                  <a:pt x="299812" y="5542224"/>
                  <a:pt x="383950" y="5400936"/>
                  <a:pt x="309337" y="5458086"/>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21578126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13" name="Dowolny kształt: kształt 12">
            <a:extLst>
              <a:ext uri="{FF2B5EF4-FFF2-40B4-BE49-F238E27FC236}">
                <a16:creationId xmlns:a16="http://schemas.microsoft.com/office/drawing/2014/main" id="{6C71BDA3-A4BA-4832-A6DA-F5DE07AE75AA}"/>
              </a:ext>
            </a:extLst>
          </p:cNvPr>
          <p:cNvSpPr/>
          <p:nvPr/>
        </p:nvSpPr>
        <p:spPr>
          <a:xfrm>
            <a:off x="71806" y="338718"/>
            <a:ext cx="5125124" cy="4829123"/>
          </a:xfrm>
          <a:custGeom>
            <a:avLst/>
            <a:gdLst>
              <a:gd name="connsiteX0" fmla="*/ 128219 w 5125124"/>
              <a:gd name="connsiteY0" fmla="*/ 1832982 h 4829123"/>
              <a:gd name="connsiteX1" fmla="*/ 709244 w 5125124"/>
              <a:gd name="connsiteY1" fmla="*/ 661407 h 4829123"/>
              <a:gd name="connsiteX2" fmla="*/ 1109294 w 5125124"/>
              <a:gd name="connsiteY2" fmla="*/ 70857 h 4829123"/>
              <a:gd name="connsiteX3" fmla="*/ 2233244 w 5125124"/>
              <a:gd name="connsiteY3" fmla="*/ 32757 h 4829123"/>
              <a:gd name="connsiteX4" fmla="*/ 3461969 w 5125124"/>
              <a:gd name="connsiteY4" fmla="*/ 270882 h 4829123"/>
              <a:gd name="connsiteX5" fmla="*/ 4585919 w 5125124"/>
              <a:gd name="connsiteY5" fmla="*/ 1232907 h 4829123"/>
              <a:gd name="connsiteX6" fmla="*/ 5100269 w 5125124"/>
              <a:gd name="connsiteY6" fmla="*/ 3118857 h 4829123"/>
              <a:gd name="connsiteX7" fmla="*/ 3842969 w 5125124"/>
              <a:gd name="connsiteY7" fmla="*/ 4195182 h 4829123"/>
              <a:gd name="connsiteX8" fmla="*/ 3547694 w 5125124"/>
              <a:gd name="connsiteY8" fmla="*/ 4585707 h 4829123"/>
              <a:gd name="connsiteX9" fmla="*/ 3423869 w 5125124"/>
              <a:gd name="connsiteY9" fmla="*/ 4814307 h 4829123"/>
              <a:gd name="connsiteX10" fmla="*/ 3100019 w 5125124"/>
              <a:gd name="connsiteY10" fmla="*/ 4757157 h 4829123"/>
              <a:gd name="connsiteX11" fmla="*/ 2842844 w 5125124"/>
              <a:gd name="connsiteY11" fmla="*/ 4357107 h 4829123"/>
              <a:gd name="connsiteX12" fmla="*/ 1604594 w 5125124"/>
              <a:gd name="connsiteY12" fmla="*/ 3528432 h 4829123"/>
              <a:gd name="connsiteX13" fmla="*/ 594944 w 5125124"/>
              <a:gd name="connsiteY13" fmla="*/ 2499732 h 4829123"/>
              <a:gd name="connsiteX14" fmla="*/ 32969 w 5125124"/>
              <a:gd name="connsiteY14" fmla="*/ 2204457 h 4829123"/>
              <a:gd name="connsiteX15" fmla="*/ 128219 w 5125124"/>
              <a:gd name="connsiteY15" fmla="*/ 1832982 h 482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25124" h="4829123">
                <a:moveTo>
                  <a:pt x="128219" y="1832982"/>
                </a:moveTo>
                <a:cubicBezTo>
                  <a:pt x="240932" y="1575807"/>
                  <a:pt x="545732" y="955094"/>
                  <a:pt x="709244" y="661407"/>
                </a:cubicBezTo>
                <a:cubicBezTo>
                  <a:pt x="872756" y="367720"/>
                  <a:pt x="855294" y="175632"/>
                  <a:pt x="1109294" y="70857"/>
                </a:cubicBezTo>
                <a:cubicBezTo>
                  <a:pt x="1363294" y="-33918"/>
                  <a:pt x="1841132" y="-580"/>
                  <a:pt x="2233244" y="32757"/>
                </a:cubicBezTo>
                <a:cubicBezTo>
                  <a:pt x="2625356" y="66094"/>
                  <a:pt x="3069857" y="70857"/>
                  <a:pt x="3461969" y="270882"/>
                </a:cubicBezTo>
                <a:cubicBezTo>
                  <a:pt x="3854081" y="470907"/>
                  <a:pt x="4312869" y="758245"/>
                  <a:pt x="4585919" y="1232907"/>
                </a:cubicBezTo>
                <a:cubicBezTo>
                  <a:pt x="4858969" y="1707569"/>
                  <a:pt x="5224094" y="2625145"/>
                  <a:pt x="5100269" y="3118857"/>
                </a:cubicBezTo>
                <a:cubicBezTo>
                  <a:pt x="4976444" y="3612569"/>
                  <a:pt x="4101732" y="3950707"/>
                  <a:pt x="3842969" y="4195182"/>
                </a:cubicBezTo>
                <a:cubicBezTo>
                  <a:pt x="3584207" y="4439657"/>
                  <a:pt x="3617544" y="4482520"/>
                  <a:pt x="3547694" y="4585707"/>
                </a:cubicBezTo>
                <a:cubicBezTo>
                  <a:pt x="3477844" y="4688894"/>
                  <a:pt x="3498481" y="4785732"/>
                  <a:pt x="3423869" y="4814307"/>
                </a:cubicBezTo>
                <a:cubicBezTo>
                  <a:pt x="3349257" y="4842882"/>
                  <a:pt x="3196856" y="4833357"/>
                  <a:pt x="3100019" y="4757157"/>
                </a:cubicBezTo>
                <a:cubicBezTo>
                  <a:pt x="3003182" y="4680957"/>
                  <a:pt x="3092082" y="4561895"/>
                  <a:pt x="2842844" y="4357107"/>
                </a:cubicBezTo>
                <a:cubicBezTo>
                  <a:pt x="2593606" y="4152319"/>
                  <a:pt x="1979244" y="3837994"/>
                  <a:pt x="1604594" y="3528432"/>
                </a:cubicBezTo>
                <a:cubicBezTo>
                  <a:pt x="1229944" y="3218870"/>
                  <a:pt x="856882" y="2720395"/>
                  <a:pt x="594944" y="2499732"/>
                </a:cubicBezTo>
                <a:cubicBezTo>
                  <a:pt x="333007" y="2279070"/>
                  <a:pt x="105994" y="2313994"/>
                  <a:pt x="32969" y="2204457"/>
                </a:cubicBezTo>
                <a:cubicBezTo>
                  <a:pt x="-40056" y="2094920"/>
                  <a:pt x="15506" y="2090157"/>
                  <a:pt x="128219" y="1832982"/>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6" name="Prostokąt 55">
            <a:extLst>
              <a:ext uri="{FF2B5EF4-FFF2-40B4-BE49-F238E27FC236}">
                <a16:creationId xmlns:a16="http://schemas.microsoft.com/office/drawing/2014/main" id="{455A4E43-1869-4ABB-ABEF-CF10A6269992}"/>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7" name="Prostokąt 56">
            <a:extLst>
              <a:ext uri="{FF2B5EF4-FFF2-40B4-BE49-F238E27FC236}">
                <a16:creationId xmlns:a16="http://schemas.microsoft.com/office/drawing/2014/main" id="{CE622D33-E18F-4ADE-9968-CA693F114A79}"/>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8" name="Prostokąt 57">
            <a:extLst>
              <a:ext uri="{FF2B5EF4-FFF2-40B4-BE49-F238E27FC236}">
                <a16:creationId xmlns:a16="http://schemas.microsoft.com/office/drawing/2014/main" id="{B3F4D19F-E73C-45E9-80F0-DD0407F6C0FB}"/>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9" name="Obraz 58">
            <a:extLst>
              <a:ext uri="{FF2B5EF4-FFF2-40B4-BE49-F238E27FC236}">
                <a16:creationId xmlns:a16="http://schemas.microsoft.com/office/drawing/2014/main" id="{DF225F84-A363-4D12-A562-243BF00D97C2}"/>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60" name="Obraz 59">
            <a:extLst>
              <a:ext uri="{FF2B5EF4-FFF2-40B4-BE49-F238E27FC236}">
                <a16:creationId xmlns:a16="http://schemas.microsoft.com/office/drawing/2014/main" id="{01A99A97-4896-47A8-8ABF-CD8484441F43}"/>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61" name="Obraz 60">
            <a:extLst>
              <a:ext uri="{FF2B5EF4-FFF2-40B4-BE49-F238E27FC236}">
                <a16:creationId xmlns:a16="http://schemas.microsoft.com/office/drawing/2014/main" id="{43D37E48-6E0D-4EB2-81F3-A28238B2F5B2}"/>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62" name="Łącznik prosty ze strzałką 61">
            <a:extLst>
              <a:ext uri="{FF2B5EF4-FFF2-40B4-BE49-F238E27FC236}">
                <a16:creationId xmlns:a16="http://schemas.microsoft.com/office/drawing/2014/main" id="{6AE3D114-513C-4387-A7C3-CFCA0FA35AC2}"/>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3" name="Łącznik prosty ze strzałką 62">
            <a:extLst>
              <a:ext uri="{FF2B5EF4-FFF2-40B4-BE49-F238E27FC236}">
                <a16:creationId xmlns:a16="http://schemas.microsoft.com/office/drawing/2014/main" id="{03044202-A3D4-4142-9706-3A05CA25CCF2}"/>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4" name="Łącznik prosty ze strzałką 63">
            <a:extLst>
              <a:ext uri="{FF2B5EF4-FFF2-40B4-BE49-F238E27FC236}">
                <a16:creationId xmlns:a16="http://schemas.microsoft.com/office/drawing/2014/main" id="{0DCB0C53-3634-4B91-939A-034E8569BAE4}"/>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5" name="Łącznik prosty ze strzałką 64">
            <a:extLst>
              <a:ext uri="{FF2B5EF4-FFF2-40B4-BE49-F238E27FC236}">
                <a16:creationId xmlns:a16="http://schemas.microsoft.com/office/drawing/2014/main" id="{F3B0DB63-E066-41C4-BD5A-AB90B47125C4}"/>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pic>
        <p:nvPicPr>
          <p:cNvPr id="67" name="Obraz 66">
            <a:extLst>
              <a:ext uri="{FF2B5EF4-FFF2-40B4-BE49-F238E27FC236}">
                <a16:creationId xmlns:a16="http://schemas.microsoft.com/office/drawing/2014/main" id="{4F23E66A-E567-4511-BDF6-359E0B730553}"/>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68" name="Obraz 67">
            <a:extLst>
              <a:ext uri="{FF2B5EF4-FFF2-40B4-BE49-F238E27FC236}">
                <a16:creationId xmlns:a16="http://schemas.microsoft.com/office/drawing/2014/main" id="{8186AE47-CDE4-44F2-BC70-27B7789A3E2A}"/>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15" name="Dowolny kształt: kształt 14">
            <a:extLst>
              <a:ext uri="{FF2B5EF4-FFF2-40B4-BE49-F238E27FC236}">
                <a16:creationId xmlns:a16="http://schemas.microsoft.com/office/drawing/2014/main" id="{E1209423-57AA-4147-92A7-5049052B75EB}"/>
              </a:ext>
            </a:extLst>
          </p:cNvPr>
          <p:cNvSpPr/>
          <p:nvPr/>
        </p:nvSpPr>
        <p:spPr>
          <a:xfrm>
            <a:off x="3907667" y="175518"/>
            <a:ext cx="8084332" cy="6451888"/>
          </a:xfrm>
          <a:custGeom>
            <a:avLst/>
            <a:gdLst>
              <a:gd name="connsiteX0" fmla="*/ 309337 w 8084332"/>
              <a:gd name="connsiteY0" fmla="*/ 5458086 h 6451888"/>
              <a:gd name="connsiteX1" fmla="*/ 4537 w 8084332"/>
              <a:gd name="connsiteY1" fmla="*/ 5772411 h 6451888"/>
              <a:gd name="connsiteX2" fmla="*/ 566512 w 8084332"/>
              <a:gd name="connsiteY2" fmla="*/ 6115311 h 6451888"/>
              <a:gd name="connsiteX3" fmla="*/ 1385662 w 8084332"/>
              <a:gd name="connsiteY3" fmla="*/ 6439161 h 6451888"/>
              <a:gd name="connsiteX4" fmla="*/ 4614637 w 8084332"/>
              <a:gd name="connsiteY4" fmla="*/ 6391536 h 6451888"/>
              <a:gd name="connsiteX5" fmla="*/ 7872187 w 8084332"/>
              <a:gd name="connsiteY5" fmla="*/ 6296286 h 6451888"/>
              <a:gd name="connsiteX6" fmla="*/ 7662637 w 8084332"/>
              <a:gd name="connsiteY6" fmla="*/ 5915286 h 6451888"/>
              <a:gd name="connsiteX7" fmla="*/ 7843612 w 8084332"/>
              <a:gd name="connsiteY7" fmla="*/ 5734311 h 6451888"/>
              <a:gd name="connsiteX8" fmla="*/ 8072212 w 8084332"/>
              <a:gd name="connsiteY8" fmla="*/ 5162811 h 6451888"/>
              <a:gd name="connsiteX9" fmla="*/ 7443562 w 8084332"/>
              <a:gd name="connsiteY9" fmla="*/ 4153161 h 6451888"/>
              <a:gd name="connsiteX10" fmla="*/ 7938862 w 8084332"/>
              <a:gd name="connsiteY10" fmla="*/ 2429136 h 6451888"/>
              <a:gd name="connsiteX11" fmla="*/ 7834087 w 8084332"/>
              <a:gd name="connsiteY11" fmla="*/ 1352811 h 6451888"/>
              <a:gd name="connsiteX12" fmla="*/ 6605362 w 8084332"/>
              <a:gd name="connsiteY12" fmla="*/ 628911 h 6451888"/>
              <a:gd name="connsiteX13" fmla="*/ 5319487 w 8084332"/>
              <a:gd name="connsiteY13" fmla="*/ 28836 h 6451888"/>
              <a:gd name="connsiteX14" fmla="*/ 3643087 w 8084332"/>
              <a:gd name="connsiteY14" fmla="*/ 114561 h 6451888"/>
              <a:gd name="connsiteX15" fmla="*/ 2500087 w 8084332"/>
              <a:gd name="connsiteY15" fmla="*/ 286011 h 6451888"/>
              <a:gd name="connsiteX16" fmla="*/ 1519012 w 8084332"/>
              <a:gd name="connsiteY16" fmla="*/ 552711 h 6451888"/>
              <a:gd name="connsiteX17" fmla="*/ 1414237 w 8084332"/>
              <a:gd name="connsiteY17" fmla="*/ 1409961 h 6451888"/>
              <a:gd name="connsiteX18" fmla="*/ 1604737 w 8084332"/>
              <a:gd name="connsiteY18" fmla="*/ 2114811 h 6451888"/>
              <a:gd name="connsiteX19" fmla="*/ 1976212 w 8084332"/>
              <a:gd name="connsiteY19" fmla="*/ 3543561 h 6451888"/>
              <a:gd name="connsiteX20" fmla="*/ 1242787 w 8084332"/>
              <a:gd name="connsiteY20" fmla="*/ 4772286 h 6451888"/>
              <a:gd name="connsiteX21" fmla="*/ 452212 w 8084332"/>
              <a:gd name="connsiteY21" fmla="*/ 5429511 h 6451888"/>
              <a:gd name="connsiteX22" fmla="*/ 309337 w 8084332"/>
              <a:gd name="connsiteY22" fmla="*/ 5458086 h 645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84332" h="6451888">
                <a:moveTo>
                  <a:pt x="309337" y="5458086"/>
                </a:moveTo>
                <a:cubicBezTo>
                  <a:pt x="234724" y="5515236"/>
                  <a:pt x="-38325" y="5662874"/>
                  <a:pt x="4537" y="5772411"/>
                </a:cubicBezTo>
                <a:cubicBezTo>
                  <a:pt x="47399" y="5881948"/>
                  <a:pt x="336325" y="6004186"/>
                  <a:pt x="566512" y="6115311"/>
                </a:cubicBezTo>
                <a:cubicBezTo>
                  <a:pt x="796699" y="6226436"/>
                  <a:pt x="710975" y="6393124"/>
                  <a:pt x="1385662" y="6439161"/>
                </a:cubicBezTo>
                <a:cubicBezTo>
                  <a:pt x="2060350" y="6485199"/>
                  <a:pt x="4614637" y="6391536"/>
                  <a:pt x="4614637" y="6391536"/>
                </a:cubicBezTo>
                <a:cubicBezTo>
                  <a:pt x="5695724" y="6367724"/>
                  <a:pt x="7364187" y="6375661"/>
                  <a:pt x="7872187" y="6296286"/>
                </a:cubicBezTo>
                <a:cubicBezTo>
                  <a:pt x="8380187" y="6216911"/>
                  <a:pt x="7667399" y="6008948"/>
                  <a:pt x="7662637" y="5915286"/>
                </a:cubicBezTo>
                <a:cubicBezTo>
                  <a:pt x="7657875" y="5821624"/>
                  <a:pt x="7775350" y="5859723"/>
                  <a:pt x="7843612" y="5734311"/>
                </a:cubicBezTo>
                <a:cubicBezTo>
                  <a:pt x="7911874" y="5608899"/>
                  <a:pt x="8138887" y="5426336"/>
                  <a:pt x="8072212" y="5162811"/>
                </a:cubicBezTo>
                <a:cubicBezTo>
                  <a:pt x="8005537" y="4899286"/>
                  <a:pt x="7465787" y="4608773"/>
                  <a:pt x="7443562" y="4153161"/>
                </a:cubicBezTo>
                <a:cubicBezTo>
                  <a:pt x="7421337" y="3697548"/>
                  <a:pt x="7873774" y="2895861"/>
                  <a:pt x="7938862" y="2429136"/>
                </a:cubicBezTo>
                <a:cubicBezTo>
                  <a:pt x="8003950" y="1962411"/>
                  <a:pt x="8056337" y="1652848"/>
                  <a:pt x="7834087" y="1352811"/>
                </a:cubicBezTo>
                <a:cubicBezTo>
                  <a:pt x="7611837" y="1052774"/>
                  <a:pt x="7024462" y="849573"/>
                  <a:pt x="6605362" y="628911"/>
                </a:cubicBezTo>
                <a:cubicBezTo>
                  <a:pt x="6186262" y="408248"/>
                  <a:pt x="5813199" y="114561"/>
                  <a:pt x="5319487" y="28836"/>
                </a:cubicBezTo>
                <a:cubicBezTo>
                  <a:pt x="4825775" y="-56889"/>
                  <a:pt x="4112987" y="71699"/>
                  <a:pt x="3643087" y="114561"/>
                </a:cubicBezTo>
                <a:cubicBezTo>
                  <a:pt x="3173187" y="157423"/>
                  <a:pt x="2854099" y="212986"/>
                  <a:pt x="2500087" y="286011"/>
                </a:cubicBezTo>
                <a:cubicBezTo>
                  <a:pt x="2146075" y="359036"/>
                  <a:pt x="1699987" y="365386"/>
                  <a:pt x="1519012" y="552711"/>
                </a:cubicBezTo>
                <a:cubicBezTo>
                  <a:pt x="1338037" y="740036"/>
                  <a:pt x="1399950" y="1149611"/>
                  <a:pt x="1414237" y="1409961"/>
                </a:cubicBezTo>
                <a:cubicBezTo>
                  <a:pt x="1428525" y="1670311"/>
                  <a:pt x="1511075" y="1759211"/>
                  <a:pt x="1604737" y="2114811"/>
                </a:cubicBezTo>
                <a:cubicBezTo>
                  <a:pt x="1698399" y="2470411"/>
                  <a:pt x="2036537" y="3100649"/>
                  <a:pt x="1976212" y="3543561"/>
                </a:cubicBezTo>
                <a:cubicBezTo>
                  <a:pt x="1915887" y="3986473"/>
                  <a:pt x="1496787" y="4457961"/>
                  <a:pt x="1242787" y="4772286"/>
                </a:cubicBezTo>
                <a:cubicBezTo>
                  <a:pt x="988787" y="5086611"/>
                  <a:pt x="604612" y="5316798"/>
                  <a:pt x="452212" y="5429511"/>
                </a:cubicBezTo>
                <a:cubicBezTo>
                  <a:pt x="299812" y="5542224"/>
                  <a:pt x="383950" y="5400936"/>
                  <a:pt x="309337" y="5458086"/>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6" name="pole tekstowe 45">
            <a:extLst>
              <a:ext uri="{FF2B5EF4-FFF2-40B4-BE49-F238E27FC236}">
                <a16:creationId xmlns:a16="http://schemas.microsoft.com/office/drawing/2014/main" id="{7BE096A5-E01C-4998-9EB6-42CDD91985AD}"/>
              </a:ext>
            </a:extLst>
          </p:cNvPr>
          <p:cNvSpPr txBox="1"/>
          <p:nvPr/>
        </p:nvSpPr>
        <p:spPr>
          <a:xfrm>
            <a:off x="6830215" y="2484264"/>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Child content</a:t>
            </a:r>
          </a:p>
        </p:txBody>
      </p:sp>
      <p:sp>
        <p:nvSpPr>
          <p:cNvPr id="47" name="pole tekstowe 46">
            <a:extLst>
              <a:ext uri="{FF2B5EF4-FFF2-40B4-BE49-F238E27FC236}">
                <a16:creationId xmlns:a16="http://schemas.microsoft.com/office/drawing/2014/main" id="{5D5295DD-A1D1-4EEC-98FB-A9253FC4F8BD}"/>
              </a:ext>
            </a:extLst>
          </p:cNvPr>
          <p:cNvSpPr txBox="1"/>
          <p:nvPr/>
        </p:nvSpPr>
        <p:spPr>
          <a:xfrm>
            <a:off x="7330264" y="3128891"/>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Render fragments</a:t>
            </a:r>
          </a:p>
        </p:txBody>
      </p:sp>
      <p:sp>
        <p:nvSpPr>
          <p:cNvPr id="48" name="pole tekstowe 47">
            <a:extLst>
              <a:ext uri="{FF2B5EF4-FFF2-40B4-BE49-F238E27FC236}">
                <a16:creationId xmlns:a16="http://schemas.microsoft.com/office/drawing/2014/main" id="{E7EFE97E-5557-475D-ABAF-5064E3FC5F4B}"/>
              </a:ext>
            </a:extLst>
          </p:cNvPr>
          <p:cNvSpPr txBox="1"/>
          <p:nvPr/>
        </p:nvSpPr>
        <p:spPr>
          <a:xfrm>
            <a:off x="7762264" y="3771814"/>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Cascading values</a:t>
            </a:r>
          </a:p>
        </p:txBody>
      </p:sp>
    </p:spTree>
    <p:extLst>
      <p:ext uri="{BB962C8B-B14F-4D97-AF65-F5344CB8AC3E}">
        <p14:creationId xmlns:p14="http://schemas.microsoft.com/office/powerpoint/2010/main" val="23858022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12DA3EE5-1FFA-422E-8F27-5E731AC7FA27}"/>
              </a:ext>
            </a:extLst>
          </p:cNvPr>
          <p:cNvPicPr>
            <a:picLocks noChangeAspect="1"/>
          </p:cNvPicPr>
          <p:nvPr/>
        </p:nvPicPr>
        <p:blipFill>
          <a:blip r:embed="rId3">
            <a:clrChange>
              <a:clrFrom>
                <a:srgbClr val="F2F2F2"/>
              </a:clrFrom>
              <a:clrTo>
                <a:srgbClr val="F2F2F2">
                  <a:alpha val="0"/>
                </a:srgbClr>
              </a:clrTo>
            </a:clrChange>
          </a:blip>
          <a:stretch>
            <a:fillRect/>
          </a:stretch>
        </p:blipFill>
        <p:spPr>
          <a:xfrm>
            <a:off x="7032000" y="4293000"/>
            <a:ext cx="2305050" cy="2305050"/>
          </a:xfrm>
          <a:prstGeom prst="rect">
            <a:avLst/>
          </a:prstGeom>
        </p:spPr>
      </p:pic>
      <p:pic>
        <p:nvPicPr>
          <p:cNvPr id="7" name="Obraz 6">
            <a:extLst>
              <a:ext uri="{FF2B5EF4-FFF2-40B4-BE49-F238E27FC236}">
                <a16:creationId xmlns:a16="http://schemas.microsoft.com/office/drawing/2014/main" id="{372BC274-DDEB-4108-9E0A-84F793211C12}"/>
              </a:ext>
            </a:extLst>
          </p:cNvPr>
          <p:cNvPicPr>
            <a:picLocks noChangeAspect="1"/>
          </p:cNvPicPr>
          <p:nvPr/>
        </p:nvPicPr>
        <p:blipFill>
          <a:blip r:embed="rId4"/>
          <a:stretch>
            <a:fillRect/>
          </a:stretch>
        </p:blipFill>
        <p:spPr>
          <a:xfrm>
            <a:off x="235059" y="4293000"/>
            <a:ext cx="2209800" cy="2209800"/>
          </a:xfrm>
          <a:prstGeom prst="rect">
            <a:avLst/>
          </a:prstGeom>
        </p:spPr>
      </p:pic>
      <p:sp>
        <p:nvSpPr>
          <p:cNvPr id="13" name="Title 12"/>
          <p:cNvSpPr>
            <a:spLocks noGrp="1"/>
          </p:cNvSpPr>
          <p:nvPr>
            <p:ph type="title"/>
          </p:nvPr>
        </p:nvSpPr>
        <p:spPr>
          <a:xfrm>
            <a:off x="315578" y="981000"/>
            <a:ext cx="5636422" cy="1785257"/>
          </a:xfrm>
        </p:spPr>
        <p:txBody>
          <a:bodyPr/>
          <a:lstStyle/>
          <a:p>
            <a:pPr algn="ctr"/>
            <a:r>
              <a:rPr lang="pl-PL" sz="4000" dirty="0">
                <a:solidFill>
                  <a:srgbClr val="0070AD"/>
                </a:solidFill>
                <a:latin typeface="Ubuntu" panose="020B0804030602030204" pitchFamily="34" charset="0"/>
              </a:rPr>
              <a:t>Demo #0</a:t>
            </a:r>
            <a:r>
              <a:rPr lang="en-US" sz="4000" dirty="0">
                <a:solidFill>
                  <a:srgbClr val="0070AD"/>
                </a:solidFill>
                <a:latin typeface="Ubuntu" panose="020B0804030602030204" pitchFamily="34" charset="0"/>
              </a:rPr>
              <a:t>5</a:t>
            </a:r>
            <a:endParaRPr lang="en-GB" sz="4000" dirty="0">
              <a:solidFill>
                <a:srgbClr val="0070AD"/>
              </a:solidFill>
              <a:latin typeface="Ubuntu" panose="020B0804030602030204" pitchFamily="34" charset="0"/>
            </a:endParaRPr>
          </a:p>
        </p:txBody>
      </p:sp>
      <p:sp>
        <p:nvSpPr>
          <p:cNvPr id="14" name="Freeform 205">
            <a:extLst>
              <a:ext uri="{FF2B5EF4-FFF2-40B4-BE49-F238E27FC236}">
                <a16:creationId xmlns:a16="http://schemas.microsoft.com/office/drawing/2014/main" id="{D8DCFD76-AA2C-4252-A9E7-5F24A93C1477}"/>
              </a:ext>
            </a:extLst>
          </p:cNvPr>
          <p:cNvSpPr>
            <a:spLocks noEditPoints="1"/>
          </p:cNvSpPr>
          <p:nvPr/>
        </p:nvSpPr>
        <p:spPr bwMode="auto">
          <a:xfrm>
            <a:off x="1339959" y="1485000"/>
            <a:ext cx="365557" cy="281578"/>
          </a:xfrm>
          <a:custGeom>
            <a:avLst/>
            <a:gdLst>
              <a:gd name="T0" fmla="*/ 10 w 139"/>
              <a:gd name="T1" fmla="*/ 87 h 107"/>
              <a:gd name="T2" fmla="*/ 10 w 139"/>
              <a:gd name="T3" fmla="*/ 97 h 107"/>
              <a:gd name="T4" fmla="*/ 90 w 139"/>
              <a:gd name="T5" fmla="*/ 97 h 107"/>
              <a:gd name="T6" fmla="*/ 90 w 139"/>
              <a:gd name="T7" fmla="*/ 87 h 107"/>
              <a:gd name="T8" fmla="*/ 10 w 139"/>
              <a:gd name="T9" fmla="*/ 87 h 107"/>
              <a:gd name="T10" fmla="*/ 124 w 139"/>
              <a:gd name="T11" fmla="*/ 85 h 107"/>
              <a:gd name="T12" fmla="*/ 119 w 139"/>
              <a:gd name="T13" fmla="*/ 87 h 107"/>
              <a:gd name="T14" fmla="*/ 117 w 139"/>
              <a:gd name="T15" fmla="*/ 92 h 107"/>
              <a:gd name="T16" fmla="*/ 119 w 139"/>
              <a:gd name="T17" fmla="*/ 97 h 107"/>
              <a:gd name="T18" fmla="*/ 124 w 139"/>
              <a:gd name="T19" fmla="*/ 100 h 107"/>
              <a:gd name="T20" fmla="*/ 130 w 139"/>
              <a:gd name="T21" fmla="*/ 97 h 107"/>
              <a:gd name="T22" fmla="*/ 132 w 139"/>
              <a:gd name="T23" fmla="*/ 92 h 107"/>
              <a:gd name="T24" fmla="*/ 130 w 139"/>
              <a:gd name="T25" fmla="*/ 87 h 107"/>
              <a:gd name="T26" fmla="*/ 124 w 139"/>
              <a:gd name="T27" fmla="*/ 85 h 107"/>
              <a:gd name="T28" fmla="*/ 0 w 139"/>
              <a:gd name="T29" fmla="*/ 78 h 107"/>
              <a:gd name="T30" fmla="*/ 139 w 139"/>
              <a:gd name="T31" fmla="*/ 78 h 107"/>
              <a:gd name="T32" fmla="*/ 139 w 139"/>
              <a:gd name="T33" fmla="*/ 107 h 107"/>
              <a:gd name="T34" fmla="*/ 0 w 139"/>
              <a:gd name="T35" fmla="*/ 107 h 107"/>
              <a:gd name="T36" fmla="*/ 0 w 139"/>
              <a:gd name="T37" fmla="*/ 78 h 107"/>
              <a:gd name="T38" fmla="*/ 10 w 139"/>
              <a:gd name="T39" fmla="*/ 49 h 107"/>
              <a:gd name="T40" fmla="*/ 10 w 139"/>
              <a:gd name="T41" fmla="*/ 58 h 107"/>
              <a:gd name="T42" fmla="*/ 90 w 139"/>
              <a:gd name="T43" fmla="*/ 58 h 107"/>
              <a:gd name="T44" fmla="*/ 90 w 139"/>
              <a:gd name="T45" fmla="*/ 49 h 107"/>
              <a:gd name="T46" fmla="*/ 10 w 139"/>
              <a:gd name="T47" fmla="*/ 49 h 107"/>
              <a:gd name="T48" fmla="*/ 124 w 139"/>
              <a:gd name="T49" fmla="*/ 46 h 107"/>
              <a:gd name="T50" fmla="*/ 119 w 139"/>
              <a:gd name="T51" fmla="*/ 48 h 107"/>
              <a:gd name="T52" fmla="*/ 117 w 139"/>
              <a:gd name="T53" fmla="*/ 53 h 107"/>
              <a:gd name="T54" fmla="*/ 119 w 139"/>
              <a:gd name="T55" fmla="*/ 59 h 107"/>
              <a:gd name="T56" fmla="*/ 124 w 139"/>
              <a:gd name="T57" fmla="*/ 61 h 107"/>
              <a:gd name="T58" fmla="*/ 130 w 139"/>
              <a:gd name="T59" fmla="*/ 59 h 107"/>
              <a:gd name="T60" fmla="*/ 132 w 139"/>
              <a:gd name="T61" fmla="*/ 53 h 107"/>
              <a:gd name="T62" fmla="*/ 130 w 139"/>
              <a:gd name="T63" fmla="*/ 48 h 107"/>
              <a:gd name="T64" fmla="*/ 124 w 139"/>
              <a:gd name="T65" fmla="*/ 46 h 107"/>
              <a:gd name="T66" fmla="*/ 0 w 139"/>
              <a:gd name="T67" fmla="*/ 39 h 107"/>
              <a:gd name="T68" fmla="*/ 139 w 139"/>
              <a:gd name="T69" fmla="*/ 39 h 107"/>
              <a:gd name="T70" fmla="*/ 139 w 139"/>
              <a:gd name="T71" fmla="*/ 68 h 107"/>
              <a:gd name="T72" fmla="*/ 0 w 139"/>
              <a:gd name="T73" fmla="*/ 68 h 107"/>
              <a:gd name="T74" fmla="*/ 0 w 139"/>
              <a:gd name="T75" fmla="*/ 39 h 107"/>
              <a:gd name="T76" fmla="*/ 10 w 139"/>
              <a:gd name="T77" fmla="*/ 10 h 107"/>
              <a:gd name="T78" fmla="*/ 10 w 139"/>
              <a:gd name="T79" fmla="*/ 19 h 107"/>
              <a:gd name="T80" fmla="*/ 90 w 139"/>
              <a:gd name="T81" fmla="*/ 19 h 107"/>
              <a:gd name="T82" fmla="*/ 90 w 139"/>
              <a:gd name="T83" fmla="*/ 10 h 107"/>
              <a:gd name="T84" fmla="*/ 10 w 139"/>
              <a:gd name="T85" fmla="*/ 10 h 107"/>
              <a:gd name="T86" fmla="*/ 124 w 139"/>
              <a:gd name="T87" fmla="*/ 7 h 107"/>
              <a:gd name="T88" fmla="*/ 119 w 139"/>
              <a:gd name="T89" fmla="*/ 9 h 107"/>
              <a:gd name="T90" fmla="*/ 117 w 139"/>
              <a:gd name="T91" fmla="*/ 15 h 107"/>
              <a:gd name="T92" fmla="*/ 119 w 139"/>
              <a:gd name="T93" fmla="*/ 20 h 107"/>
              <a:gd name="T94" fmla="*/ 124 w 139"/>
              <a:gd name="T95" fmla="*/ 22 h 107"/>
              <a:gd name="T96" fmla="*/ 130 w 139"/>
              <a:gd name="T97" fmla="*/ 20 h 107"/>
              <a:gd name="T98" fmla="*/ 132 w 139"/>
              <a:gd name="T99" fmla="*/ 15 h 107"/>
              <a:gd name="T100" fmla="*/ 130 w 139"/>
              <a:gd name="T101" fmla="*/ 9 h 107"/>
              <a:gd name="T102" fmla="*/ 124 w 139"/>
              <a:gd name="T103" fmla="*/ 7 h 107"/>
              <a:gd name="T104" fmla="*/ 0 w 139"/>
              <a:gd name="T105" fmla="*/ 0 h 107"/>
              <a:gd name="T106" fmla="*/ 139 w 139"/>
              <a:gd name="T107" fmla="*/ 0 h 107"/>
              <a:gd name="T108" fmla="*/ 139 w 139"/>
              <a:gd name="T109" fmla="*/ 29 h 107"/>
              <a:gd name="T110" fmla="*/ 0 w 139"/>
              <a:gd name="T111" fmla="*/ 29 h 107"/>
              <a:gd name="T112" fmla="*/ 0 w 139"/>
              <a:gd name="T11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 h="107">
                <a:moveTo>
                  <a:pt x="10" y="87"/>
                </a:moveTo>
                <a:cubicBezTo>
                  <a:pt x="10" y="97"/>
                  <a:pt x="10" y="97"/>
                  <a:pt x="10" y="97"/>
                </a:cubicBezTo>
                <a:cubicBezTo>
                  <a:pt x="90" y="97"/>
                  <a:pt x="90" y="97"/>
                  <a:pt x="90" y="97"/>
                </a:cubicBezTo>
                <a:cubicBezTo>
                  <a:pt x="90" y="87"/>
                  <a:pt x="90" y="87"/>
                  <a:pt x="90" y="87"/>
                </a:cubicBezTo>
                <a:cubicBezTo>
                  <a:pt x="10" y="87"/>
                  <a:pt x="10" y="87"/>
                  <a:pt x="10" y="87"/>
                </a:cubicBezTo>
                <a:close/>
                <a:moveTo>
                  <a:pt x="124" y="85"/>
                </a:moveTo>
                <a:cubicBezTo>
                  <a:pt x="122" y="85"/>
                  <a:pt x="121" y="86"/>
                  <a:pt x="119" y="87"/>
                </a:cubicBezTo>
                <a:cubicBezTo>
                  <a:pt x="118" y="89"/>
                  <a:pt x="117" y="90"/>
                  <a:pt x="117" y="92"/>
                </a:cubicBezTo>
                <a:cubicBezTo>
                  <a:pt x="117" y="94"/>
                  <a:pt x="118" y="96"/>
                  <a:pt x="119" y="97"/>
                </a:cubicBezTo>
                <a:cubicBezTo>
                  <a:pt x="121" y="99"/>
                  <a:pt x="122" y="100"/>
                  <a:pt x="124" y="100"/>
                </a:cubicBezTo>
                <a:cubicBezTo>
                  <a:pt x="127" y="100"/>
                  <a:pt x="128" y="99"/>
                  <a:pt x="130" y="97"/>
                </a:cubicBezTo>
                <a:cubicBezTo>
                  <a:pt x="131" y="96"/>
                  <a:pt x="132" y="94"/>
                  <a:pt x="132" y="92"/>
                </a:cubicBezTo>
                <a:cubicBezTo>
                  <a:pt x="132" y="90"/>
                  <a:pt x="131" y="89"/>
                  <a:pt x="130" y="87"/>
                </a:cubicBezTo>
                <a:cubicBezTo>
                  <a:pt x="128" y="86"/>
                  <a:pt x="127" y="85"/>
                  <a:pt x="124" y="85"/>
                </a:cubicBezTo>
                <a:close/>
                <a:moveTo>
                  <a:pt x="0" y="78"/>
                </a:moveTo>
                <a:cubicBezTo>
                  <a:pt x="139" y="78"/>
                  <a:pt x="139" y="78"/>
                  <a:pt x="139" y="78"/>
                </a:cubicBezTo>
                <a:cubicBezTo>
                  <a:pt x="139" y="107"/>
                  <a:pt x="139" y="107"/>
                  <a:pt x="139" y="107"/>
                </a:cubicBezTo>
                <a:cubicBezTo>
                  <a:pt x="0" y="107"/>
                  <a:pt x="0" y="107"/>
                  <a:pt x="0" y="107"/>
                </a:cubicBezTo>
                <a:cubicBezTo>
                  <a:pt x="0" y="78"/>
                  <a:pt x="0" y="78"/>
                  <a:pt x="0" y="78"/>
                </a:cubicBezTo>
                <a:close/>
                <a:moveTo>
                  <a:pt x="10" y="49"/>
                </a:moveTo>
                <a:cubicBezTo>
                  <a:pt x="10" y="58"/>
                  <a:pt x="10" y="58"/>
                  <a:pt x="10" y="58"/>
                </a:cubicBezTo>
                <a:cubicBezTo>
                  <a:pt x="90" y="58"/>
                  <a:pt x="90" y="58"/>
                  <a:pt x="90" y="58"/>
                </a:cubicBezTo>
                <a:cubicBezTo>
                  <a:pt x="90" y="49"/>
                  <a:pt x="90" y="49"/>
                  <a:pt x="90" y="49"/>
                </a:cubicBezTo>
                <a:cubicBezTo>
                  <a:pt x="10" y="49"/>
                  <a:pt x="10" y="49"/>
                  <a:pt x="10" y="49"/>
                </a:cubicBezTo>
                <a:close/>
                <a:moveTo>
                  <a:pt x="124" y="46"/>
                </a:moveTo>
                <a:cubicBezTo>
                  <a:pt x="122" y="46"/>
                  <a:pt x="121" y="47"/>
                  <a:pt x="119" y="48"/>
                </a:cubicBezTo>
                <a:cubicBezTo>
                  <a:pt x="118" y="50"/>
                  <a:pt x="117" y="51"/>
                  <a:pt x="117" y="53"/>
                </a:cubicBezTo>
                <a:cubicBezTo>
                  <a:pt x="117" y="55"/>
                  <a:pt x="118" y="57"/>
                  <a:pt x="119" y="59"/>
                </a:cubicBezTo>
                <a:cubicBezTo>
                  <a:pt x="121" y="60"/>
                  <a:pt x="122" y="61"/>
                  <a:pt x="124" y="61"/>
                </a:cubicBezTo>
                <a:cubicBezTo>
                  <a:pt x="127" y="61"/>
                  <a:pt x="128" y="60"/>
                  <a:pt x="130" y="59"/>
                </a:cubicBezTo>
                <a:cubicBezTo>
                  <a:pt x="131" y="57"/>
                  <a:pt x="132" y="55"/>
                  <a:pt x="132" y="53"/>
                </a:cubicBezTo>
                <a:cubicBezTo>
                  <a:pt x="132" y="51"/>
                  <a:pt x="131" y="50"/>
                  <a:pt x="130" y="48"/>
                </a:cubicBezTo>
                <a:cubicBezTo>
                  <a:pt x="128" y="47"/>
                  <a:pt x="127" y="46"/>
                  <a:pt x="124" y="46"/>
                </a:cubicBezTo>
                <a:close/>
                <a:moveTo>
                  <a:pt x="0" y="39"/>
                </a:moveTo>
                <a:cubicBezTo>
                  <a:pt x="139" y="39"/>
                  <a:pt x="139" y="39"/>
                  <a:pt x="139" y="39"/>
                </a:cubicBezTo>
                <a:cubicBezTo>
                  <a:pt x="139" y="68"/>
                  <a:pt x="139" y="68"/>
                  <a:pt x="139" y="68"/>
                </a:cubicBezTo>
                <a:cubicBezTo>
                  <a:pt x="0" y="68"/>
                  <a:pt x="0" y="68"/>
                  <a:pt x="0" y="68"/>
                </a:cubicBezTo>
                <a:cubicBezTo>
                  <a:pt x="0" y="39"/>
                  <a:pt x="0" y="39"/>
                  <a:pt x="0" y="39"/>
                </a:cubicBezTo>
                <a:close/>
                <a:moveTo>
                  <a:pt x="10" y="10"/>
                </a:moveTo>
                <a:cubicBezTo>
                  <a:pt x="10" y="19"/>
                  <a:pt x="10" y="19"/>
                  <a:pt x="10" y="19"/>
                </a:cubicBezTo>
                <a:cubicBezTo>
                  <a:pt x="90" y="19"/>
                  <a:pt x="90" y="19"/>
                  <a:pt x="90" y="19"/>
                </a:cubicBezTo>
                <a:cubicBezTo>
                  <a:pt x="90" y="10"/>
                  <a:pt x="90" y="10"/>
                  <a:pt x="90" y="10"/>
                </a:cubicBezTo>
                <a:cubicBezTo>
                  <a:pt x="10" y="10"/>
                  <a:pt x="10" y="10"/>
                  <a:pt x="10" y="10"/>
                </a:cubicBezTo>
                <a:close/>
                <a:moveTo>
                  <a:pt x="124" y="7"/>
                </a:moveTo>
                <a:cubicBezTo>
                  <a:pt x="122" y="7"/>
                  <a:pt x="121" y="8"/>
                  <a:pt x="119" y="9"/>
                </a:cubicBezTo>
                <a:cubicBezTo>
                  <a:pt x="118" y="11"/>
                  <a:pt x="117" y="13"/>
                  <a:pt x="117" y="15"/>
                </a:cubicBezTo>
                <a:cubicBezTo>
                  <a:pt x="117" y="17"/>
                  <a:pt x="118" y="18"/>
                  <a:pt x="119" y="20"/>
                </a:cubicBezTo>
                <a:cubicBezTo>
                  <a:pt x="121" y="21"/>
                  <a:pt x="122" y="22"/>
                  <a:pt x="124" y="22"/>
                </a:cubicBezTo>
                <a:cubicBezTo>
                  <a:pt x="127" y="22"/>
                  <a:pt x="128" y="21"/>
                  <a:pt x="130" y="20"/>
                </a:cubicBezTo>
                <a:cubicBezTo>
                  <a:pt x="131" y="18"/>
                  <a:pt x="132" y="17"/>
                  <a:pt x="132" y="15"/>
                </a:cubicBezTo>
                <a:cubicBezTo>
                  <a:pt x="132" y="13"/>
                  <a:pt x="131" y="11"/>
                  <a:pt x="130" y="9"/>
                </a:cubicBezTo>
                <a:cubicBezTo>
                  <a:pt x="128" y="8"/>
                  <a:pt x="127" y="7"/>
                  <a:pt x="124" y="7"/>
                </a:cubicBezTo>
                <a:close/>
                <a:moveTo>
                  <a:pt x="0" y="0"/>
                </a:moveTo>
                <a:cubicBezTo>
                  <a:pt x="139" y="0"/>
                  <a:pt x="139" y="0"/>
                  <a:pt x="139" y="0"/>
                </a:cubicBezTo>
                <a:cubicBezTo>
                  <a:pt x="139" y="29"/>
                  <a:pt x="139" y="29"/>
                  <a:pt x="139" y="29"/>
                </a:cubicBezTo>
                <a:cubicBezTo>
                  <a:pt x="0" y="29"/>
                  <a:pt x="0" y="29"/>
                  <a:pt x="0" y="29"/>
                </a:cubicBezTo>
                <a:cubicBezTo>
                  <a:pt x="0" y="0"/>
                  <a:pt x="0" y="0"/>
                  <a:pt x="0" y="0"/>
                </a:cubicBezTo>
                <a:close/>
              </a:path>
            </a:pathLst>
          </a:custGeom>
          <a:solidFill>
            <a:srgbClr val="5C2D91"/>
          </a:solidFill>
          <a:ln>
            <a:noFill/>
          </a:ln>
        </p:spPr>
        <p:txBody>
          <a:bodyPr vert="horz" wrap="square" lIns="91440" tIns="45720" rIns="91440" bIns="45720" numCol="1" anchor="t" anchorCtr="0" compatLnSpc="1">
            <a:prstTxWarp prst="textNoShape">
              <a:avLst/>
            </a:prstTxWarp>
          </a:bodyPr>
          <a:lstStyle/>
          <a:p>
            <a:endParaRPr lang="en-US">
              <a:solidFill>
                <a:srgbClr val="0070AD"/>
              </a:solidFill>
            </a:endParaRPr>
          </a:p>
        </p:txBody>
      </p:sp>
    </p:spTree>
    <p:extLst>
      <p:ext uri="{BB962C8B-B14F-4D97-AF65-F5344CB8AC3E}">
        <p14:creationId xmlns:p14="http://schemas.microsoft.com/office/powerpoint/2010/main" val="18181873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13" name="Dowolny kształt: kształt 12">
            <a:extLst>
              <a:ext uri="{FF2B5EF4-FFF2-40B4-BE49-F238E27FC236}">
                <a16:creationId xmlns:a16="http://schemas.microsoft.com/office/drawing/2014/main" id="{80146EB8-D4C5-4E84-94BC-4004709A6BCA}"/>
              </a:ext>
            </a:extLst>
          </p:cNvPr>
          <p:cNvSpPr/>
          <p:nvPr/>
        </p:nvSpPr>
        <p:spPr>
          <a:xfrm>
            <a:off x="144066" y="309033"/>
            <a:ext cx="4864874" cy="4834467"/>
          </a:xfrm>
          <a:custGeom>
            <a:avLst/>
            <a:gdLst>
              <a:gd name="connsiteX0" fmla="*/ 46434 w 4864874"/>
              <a:gd name="connsiteY0" fmla="*/ 1834092 h 4834467"/>
              <a:gd name="connsiteX1" fmla="*/ 322659 w 4864874"/>
              <a:gd name="connsiteY1" fmla="*/ 595842 h 4834467"/>
              <a:gd name="connsiteX2" fmla="*/ 1237059 w 4864874"/>
              <a:gd name="connsiteY2" fmla="*/ 119592 h 4834467"/>
              <a:gd name="connsiteX3" fmla="*/ 2589609 w 4864874"/>
              <a:gd name="connsiteY3" fmla="*/ 52917 h 4834467"/>
              <a:gd name="connsiteX4" fmla="*/ 4675584 w 4864874"/>
              <a:gd name="connsiteY4" fmla="*/ 795867 h 4834467"/>
              <a:gd name="connsiteX5" fmla="*/ 4647009 w 4864874"/>
              <a:gd name="connsiteY5" fmla="*/ 2853267 h 4834467"/>
              <a:gd name="connsiteX6" fmla="*/ 3608784 w 4864874"/>
              <a:gd name="connsiteY6" fmla="*/ 4329642 h 4834467"/>
              <a:gd name="connsiteX7" fmla="*/ 3494484 w 4864874"/>
              <a:gd name="connsiteY7" fmla="*/ 4624917 h 4834467"/>
              <a:gd name="connsiteX8" fmla="*/ 3303984 w 4864874"/>
              <a:gd name="connsiteY8" fmla="*/ 4834467 h 4834467"/>
              <a:gd name="connsiteX9" fmla="*/ 2999184 w 4864874"/>
              <a:gd name="connsiteY9" fmla="*/ 4624917 h 4834467"/>
              <a:gd name="connsiteX10" fmla="*/ 2522934 w 4864874"/>
              <a:gd name="connsiteY10" fmla="*/ 4129617 h 4834467"/>
              <a:gd name="connsiteX11" fmla="*/ 1398984 w 4864874"/>
              <a:gd name="connsiteY11" fmla="*/ 3367617 h 4834467"/>
              <a:gd name="connsiteX12" fmla="*/ 141684 w 4864874"/>
              <a:gd name="connsiteY12" fmla="*/ 2357967 h 4834467"/>
              <a:gd name="connsiteX13" fmla="*/ 46434 w 4864874"/>
              <a:gd name="connsiteY13" fmla="*/ 1834092 h 483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64874" h="4834467">
                <a:moveTo>
                  <a:pt x="46434" y="1834092"/>
                </a:moveTo>
                <a:cubicBezTo>
                  <a:pt x="76596" y="1540405"/>
                  <a:pt x="124222" y="881592"/>
                  <a:pt x="322659" y="595842"/>
                </a:cubicBezTo>
                <a:cubicBezTo>
                  <a:pt x="521097" y="310092"/>
                  <a:pt x="859234" y="210079"/>
                  <a:pt x="1237059" y="119592"/>
                </a:cubicBezTo>
                <a:cubicBezTo>
                  <a:pt x="1614884" y="29105"/>
                  <a:pt x="2016522" y="-59795"/>
                  <a:pt x="2589609" y="52917"/>
                </a:cubicBezTo>
                <a:cubicBezTo>
                  <a:pt x="3162696" y="165629"/>
                  <a:pt x="4332684" y="329142"/>
                  <a:pt x="4675584" y="795867"/>
                </a:cubicBezTo>
                <a:cubicBezTo>
                  <a:pt x="5018484" y="1262592"/>
                  <a:pt x="4824809" y="2264305"/>
                  <a:pt x="4647009" y="2853267"/>
                </a:cubicBezTo>
                <a:cubicBezTo>
                  <a:pt x="4469209" y="3442230"/>
                  <a:pt x="3800871" y="4034367"/>
                  <a:pt x="3608784" y="4329642"/>
                </a:cubicBezTo>
                <a:cubicBezTo>
                  <a:pt x="3416697" y="4624917"/>
                  <a:pt x="3545284" y="4540780"/>
                  <a:pt x="3494484" y="4624917"/>
                </a:cubicBezTo>
                <a:cubicBezTo>
                  <a:pt x="3443684" y="4709054"/>
                  <a:pt x="3386534" y="4834467"/>
                  <a:pt x="3303984" y="4834467"/>
                </a:cubicBezTo>
                <a:cubicBezTo>
                  <a:pt x="3221434" y="4834467"/>
                  <a:pt x="3129359" y="4742392"/>
                  <a:pt x="2999184" y="4624917"/>
                </a:cubicBezTo>
                <a:cubicBezTo>
                  <a:pt x="2869009" y="4507442"/>
                  <a:pt x="2789634" y="4339167"/>
                  <a:pt x="2522934" y="4129617"/>
                </a:cubicBezTo>
                <a:cubicBezTo>
                  <a:pt x="2256234" y="3920067"/>
                  <a:pt x="1795859" y="3662892"/>
                  <a:pt x="1398984" y="3367617"/>
                </a:cubicBezTo>
                <a:cubicBezTo>
                  <a:pt x="1002109" y="3072342"/>
                  <a:pt x="362347" y="2610380"/>
                  <a:pt x="141684" y="2357967"/>
                </a:cubicBezTo>
                <a:cubicBezTo>
                  <a:pt x="-78979" y="2105555"/>
                  <a:pt x="16272" y="2127779"/>
                  <a:pt x="46434" y="1834092"/>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7" name="Prostokąt 46">
            <a:extLst>
              <a:ext uri="{FF2B5EF4-FFF2-40B4-BE49-F238E27FC236}">
                <a16:creationId xmlns:a16="http://schemas.microsoft.com/office/drawing/2014/main" id="{2BD24E9C-89EA-41D4-835A-1E5FB47B7060}"/>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8" name="Prostokąt 47">
            <a:extLst>
              <a:ext uri="{FF2B5EF4-FFF2-40B4-BE49-F238E27FC236}">
                <a16:creationId xmlns:a16="http://schemas.microsoft.com/office/drawing/2014/main" id="{E6733CF0-37F0-4899-B9D1-78878C663EE2}"/>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9" name="Prostokąt 48">
            <a:extLst>
              <a:ext uri="{FF2B5EF4-FFF2-40B4-BE49-F238E27FC236}">
                <a16:creationId xmlns:a16="http://schemas.microsoft.com/office/drawing/2014/main" id="{FA753D29-6F6D-4771-8838-67983789D2E8}"/>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0" name="Obraz 49">
            <a:extLst>
              <a:ext uri="{FF2B5EF4-FFF2-40B4-BE49-F238E27FC236}">
                <a16:creationId xmlns:a16="http://schemas.microsoft.com/office/drawing/2014/main" id="{C6B121E1-8951-4ECF-AAF6-29B2D70EC0EF}"/>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51" name="Obraz 50">
            <a:extLst>
              <a:ext uri="{FF2B5EF4-FFF2-40B4-BE49-F238E27FC236}">
                <a16:creationId xmlns:a16="http://schemas.microsoft.com/office/drawing/2014/main" id="{21115409-81F8-4714-A24A-06A1162001D8}"/>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52" name="Obraz 51">
            <a:extLst>
              <a:ext uri="{FF2B5EF4-FFF2-40B4-BE49-F238E27FC236}">
                <a16:creationId xmlns:a16="http://schemas.microsoft.com/office/drawing/2014/main" id="{C58FA327-582A-41DD-97A8-1D70D5B1AC0C}"/>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53" name="Łącznik prosty ze strzałką 52">
            <a:extLst>
              <a:ext uri="{FF2B5EF4-FFF2-40B4-BE49-F238E27FC236}">
                <a16:creationId xmlns:a16="http://schemas.microsoft.com/office/drawing/2014/main" id="{98AE3FFD-8CAF-4F1F-9AA7-75D84DB4566D}"/>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4" name="Łącznik prosty ze strzałką 53">
            <a:extLst>
              <a:ext uri="{FF2B5EF4-FFF2-40B4-BE49-F238E27FC236}">
                <a16:creationId xmlns:a16="http://schemas.microsoft.com/office/drawing/2014/main" id="{80EC2BB8-26C6-48CA-9FA1-406B56DA6547}"/>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5" name="Łącznik prosty ze strzałką 54">
            <a:extLst>
              <a:ext uri="{FF2B5EF4-FFF2-40B4-BE49-F238E27FC236}">
                <a16:creationId xmlns:a16="http://schemas.microsoft.com/office/drawing/2014/main" id="{DA6D38AE-E4CD-4360-A5F8-A446B4677CD2}"/>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6" name="Łącznik prosty ze strzałką 55">
            <a:extLst>
              <a:ext uri="{FF2B5EF4-FFF2-40B4-BE49-F238E27FC236}">
                <a16:creationId xmlns:a16="http://schemas.microsoft.com/office/drawing/2014/main" id="{CEA3282D-AB4D-4763-8E8C-F139398333FD}"/>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pic>
        <p:nvPicPr>
          <p:cNvPr id="59" name="Obraz 58">
            <a:extLst>
              <a:ext uri="{FF2B5EF4-FFF2-40B4-BE49-F238E27FC236}">
                <a16:creationId xmlns:a16="http://schemas.microsoft.com/office/drawing/2014/main" id="{F55E4FA0-86F8-4297-8AFB-A2A709A0E973}"/>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60" name="Obraz 59">
            <a:extLst>
              <a:ext uri="{FF2B5EF4-FFF2-40B4-BE49-F238E27FC236}">
                <a16:creationId xmlns:a16="http://schemas.microsoft.com/office/drawing/2014/main" id="{43C6ABCD-C408-4370-BB62-6C2A499448FD}"/>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16" name="Dowolny kształt: kształt 15">
            <a:extLst>
              <a:ext uri="{FF2B5EF4-FFF2-40B4-BE49-F238E27FC236}">
                <a16:creationId xmlns:a16="http://schemas.microsoft.com/office/drawing/2014/main" id="{78B5DC0F-79A4-4E61-B59F-30C1907089DC}"/>
              </a:ext>
            </a:extLst>
          </p:cNvPr>
          <p:cNvSpPr/>
          <p:nvPr/>
        </p:nvSpPr>
        <p:spPr>
          <a:xfrm>
            <a:off x="5353111" y="122875"/>
            <a:ext cx="6588673" cy="6381145"/>
          </a:xfrm>
          <a:custGeom>
            <a:avLst/>
            <a:gdLst>
              <a:gd name="connsiteX0" fmla="*/ 1212738 w 6588673"/>
              <a:gd name="connsiteY0" fmla="*/ 2868724 h 6381145"/>
              <a:gd name="connsiteX1" fmla="*/ 1700418 w 6588673"/>
              <a:gd name="connsiteY1" fmla="*/ 2729387 h 6381145"/>
              <a:gd name="connsiteX2" fmla="*/ 2405813 w 6588673"/>
              <a:gd name="connsiteY2" fmla="*/ 2973227 h 6381145"/>
              <a:gd name="connsiteX3" fmla="*/ 3320213 w 6588673"/>
              <a:gd name="connsiteY3" fmla="*/ 4558187 h 6381145"/>
              <a:gd name="connsiteX4" fmla="*/ 5331893 w 6588673"/>
              <a:gd name="connsiteY4" fmla="*/ 6160564 h 6381145"/>
              <a:gd name="connsiteX5" fmla="*/ 5845698 w 6588673"/>
              <a:gd name="connsiteY5" fmla="*/ 6369570 h 6381145"/>
              <a:gd name="connsiteX6" fmla="*/ 6455298 w 6588673"/>
              <a:gd name="connsiteY6" fmla="*/ 6186690 h 6381145"/>
              <a:gd name="connsiteX7" fmla="*/ 6585927 w 6588673"/>
              <a:gd name="connsiteY7" fmla="*/ 5742553 h 6381145"/>
              <a:gd name="connsiteX8" fmla="*/ 6524967 w 6588673"/>
              <a:gd name="connsiteY8" fmla="*/ 4549479 h 6381145"/>
              <a:gd name="connsiteX9" fmla="*/ 6307253 w 6588673"/>
              <a:gd name="connsiteY9" fmla="*/ 3565410 h 6381145"/>
              <a:gd name="connsiteX10" fmla="*/ 6498841 w 6588673"/>
              <a:gd name="connsiteY10" fmla="*/ 1841113 h 6381145"/>
              <a:gd name="connsiteX11" fmla="*/ 6098247 w 6588673"/>
              <a:gd name="connsiteY11" fmla="*/ 1057341 h 6381145"/>
              <a:gd name="connsiteX12" fmla="*/ 4617790 w 6588673"/>
              <a:gd name="connsiteY12" fmla="*/ 369364 h 6381145"/>
              <a:gd name="connsiteX13" fmla="*/ 3633721 w 6588673"/>
              <a:gd name="connsiteY13" fmla="*/ 3604 h 6381145"/>
              <a:gd name="connsiteX14" fmla="*/ 2022635 w 6588673"/>
              <a:gd name="connsiteY14" fmla="*/ 195193 h 6381145"/>
              <a:gd name="connsiteX15" fmla="*/ 698933 w 6588673"/>
              <a:gd name="connsiteY15" fmla="*/ 404199 h 6381145"/>
              <a:gd name="connsiteX16" fmla="*/ 159001 w 6588673"/>
              <a:gd name="connsiteY16" fmla="*/ 926713 h 6381145"/>
              <a:gd name="connsiteX17" fmla="*/ 28373 w 6588673"/>
              <a:gd name="connsiteY17" fmla="*/ 1806279 h 6381145"/>
              <a:gd name="connsiteX18" fmla="*/ 629264 w 6588673"/>
              <a:gd name="connsiteY18" fmla="*/ 2651010 h 6381145"/>
              <a:gd name="connsiteX19" fmla="*/ 925355 w 6588673"/>
              <a:gd name="connsiteY19" fmla="*/ 2860016 h 6381145"/>
              <a:gd name="connsiteX20" fmla="*/ 1212738 w 6588673"/>
              <a:gd name="connsiteY20" fmla="*/ 2868724 h 638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588673" h="6381145">
                <a:moveTo>
                  <a:pt x="1212738" y="2868724"/>
                </a:moveTo>
                <a:cubicBezTo>
                  <a:pt x="1341915" y="2846952"/>
                  <a:pt x="1501572" y="2711970"/>
                  <a:pt x="1700418" y="2729387"/>
                </a:cubicBezTo>
                <a:cubicBezTo>
                  <a:pt x="1899264" y="2746804"/>
                  <a:pt x="2135847" y="2668427"/>
                  <a:pt x="2405813" y="2973227"/>
                </a:cubicBezTo>
                <a:cubicBezTo>
                  <a:pt x="2675779" y="3278027"/>
                  <a:pt x="2832533" y="4026964"/>
                  <a:pt x="3320213" y="4558187"/>
                </a:cubicBezTo>
                <a:cubicBezTo>
                  <a:pt x="3807893" y="5089410"/>
                  <a:pt x="4910979" y="5858667"/>
                  <a:pt x="5331893" y="6160564"/>
                </a:cubicBezTo>
                <a:cubicBezTo>
                  <a:pt x="5752807" y="6462461"/>
                  <a:pt x="5658464" y="6365216"/>
                  <a:pt x="5845698" y="6369570"/>
                </a:cubicBezTo>
                <a:cubicBezTo>
                  <a:pt x="6032932" y="6373924"/>
                  <a:pt x="6331926" y="6291193"/>
                  <a:pt x="6455298" y="6186690"/>
                </a:cubicBezTo>
                <a:cubicBezTo>
                  <a:pt x="6578670" y="6082187"/>
                  <a:pt x="6574316" y="6015421"/>
                  <a:pt x="6585927" y="5742553"/>
                </a:cubicBezTo>
                <a:cubicBezTo>
                  <a:pt x="6597538" y="5469685"/>
                  <a:pt x="6571413" y="4912336"/>
                  <a:pt x="6524967" y="4549479"/>
                </a:cubicBezTo>
                <a:cubicBezTo>
                  <a:pt x="6478521" y="4186622"/>
                  <a:pt x="6311607" y="4016804"/>
                  <a:pt x="6307253" y="3565410"/>
                </a:cubicBezTo>
                <a:cubicBezTo>
                  <a:pt x="6302899" y="3114016"/>
                  <a:pt x="6533675" y="2259124"/>
                  <a:pt x="6498841" y="1841113"/>
                </a:cubicBezTo>
                <a:cubicBezTo>
                  <a:pt x="6464007" y="1423101"/>
                  <a:pt x="6411756" y="1302633"/>
                  <a:pt x="6098247" y="1057341"/>
                </a:cubicBezTo>
                <a:cubicBezTo>
                  <a:pt x="5784738" y="812049"/>
                  <a:pt x="5028544" y="544987"/>
                  <a:pt x="4617790" y="369364"/>
                </a:cubicBezTo>
                <a:cubicBezTo>
                  <a:pt x="4207036" y="193741"/>
                  <a:pt x="4066247" y="32632"/>
                  <a:pt x="3633721" y="3604"/>
                </a:cubicBezTo>
                <a:cubicBezTo>
                  <a:pt x="3201195" y="-25424"/>
                  <a:pt x="2511766" y="128427"/>
                  <a:pt x="2022635" y="195193"/>
                </a:cubicBezTo>
                <a:cubicBezTo>
                  <a:pt x="1533504" y="261959"/>
                  <a:pt x="1009539" y="282279"/>
                  <a:pt x="698933" y="404199"/>
                </a:cubicBezTo>
                <a:cubicBezTo>
                  <a:pt x="388327" y="526119"/>
                  <a:pt x="270761" y="693033"/>
                  <a:pt x="159001" y="926713"/>
                </a:cubicBezTo>
                <a:cubicBezTo>
                  <a:pt x="47241" y="1160393"/>
                  <a:pt x="-50004" y="1518896"/>
                  <a:pt x="28373" y="1806279"/>
                </a:cubicBezTo>
                <a:cubicBezTo>
                  <a:pt x="106750" y="2093662"/>
                  <a:pt x="479767" y="2475387"/>
                  <a:pt x="629264" y="2651010"/>
                </a:cubicBezTo>
                <a:cubicBezTo>
                  <a:pt x="778761" y="2826633"/>
                  <a:pt x="826658" y="2820828"/>
                  <a:pt x="925355" y="2860016"/>
                </a:cubicBezTo>
                <a:cubicBezTo>
                  <a:pt x="1024052" y="2899204"/>
                  <a:pt x="1083561" y="2890496"/>
                  <a:pt x="1212738" y="2868724"/>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3667607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13" name="Dowolny kształt: kształt 12">
            <a:extLst>
              <a:ext uri="{FF2B5EF4-FFF2-40B4-BE49-F238E27FC236}">
                <a16:creationId xmlns:a16="http://schemas.microsoft.com/office/drawing/2014/main" id="{80146EB8-D4C5-4E84-94BC-4004709A6BCA}"/>
              </a:ext>
            </a:extLst>
          </p:cNvPr>
          <p:cNvSpPr/>
          <p:nvPr/>
        </p:nvSpPr>
        <p:spPr>
          <a:xfrm>
            <a:off x="144066" y="309033"/>
            <a:ext cx="4864874" cy="4834467"/>
          </a:xfrm>
          <a:custGeom>
            <a:avLst/>
            <a:gdLst>
              <a:gd name="connsiteX0" fmla="*/ 46434 w 4864874"/>
              <a:gd name="connsiteY0" fmla="*/ 1834092 h 4834467"/>
              <a:gd name="connsiteX1" fmla="*/ 322659 w 4864874"/>
              <a:gd name="connsiteY1" fmla="*/ 595842 h 4834467"/>
              <a:gd name="connsiteX2" fmla="*/ 1237059 w 4864874"/>
              <a:gd name="connsiteY2" fmla="*/ 119592 h 4834467"/>
              <a:gd name="connsiteX3" fmla="*/ 2589609 w 4864874"/>
              <a:gd name="connsiteY3" fmla="*/ 52917 h 4834467"/>
              <a:gd name="connsiteX4" fmla="*/ 4675584 w 4864874"/>
              <a:gd name="connsiteY4" fmla="*/ 795867 h 4834467"/>
              <a:gd name="connsiteX5" fmla="*/ 4647009 w 4864874"/>
              <a:gd name="connsiteY5" fmla="*/ 2853267 h 4834467"/>
              <a:gd name="connsiteX6" fmla="*/ 3608784 w 4864874"/>
              <a:gd name="connsiteY6" fmla="*/ 4329642 h 4834467"/>
              <a:gd name="connsiteX7" fmla="*/ 3494484 w 4864874"/>
              <a:gd name="connsiteY7" fmla="*/ 4624917 h 4834467"/>
              <a:gd name="connsiteX8" fmla="*/ 3303984 w 4864874"/>
              <a:gd name="connsiteY8" fmla="*/ 4834467 h 4834467"/>
              <a:gd name="connsiteX9" fmla="*/ 2999184 w 4864874"/>
              <a:gd name="connsiteY9" fmla="*/ 4624917 h 4834467"/>
              <a:gd name="connsiteX10" fmla="*/ 2522934 w 4864874"/>
              <a:gd name="connsiteY10" fmla="*/ 4129617 h 4834467"/>
              <a:gd name="connsiteX11" fmla="*/ 1398984 w 4864874"/>
              <a:gd name="connsiteY11" fmla="*/ 3367617 h 4834467"/>
              <a:gd name="connsiteX12" fmla="*/ 141684 w 4864874"/>
              <a:gd name="connsiteY12" fmla="*/ 2357967 h 4834467"/>
              <a:gd name="connsiteX13" fmla="*/ 46434 w 4864874"/>
              <a:gd name="connsiteY13" fmla="*/ 1834092 h 483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64874" h="4834467">
                <a:moveTo>
                  <a:pt x="46434" y="1834092"/>
                </a:moveTo>
                <a:cubicBezTo>
                  <a:pt x="76596" y="1540405"/>
                  <a:pt x="124222" y="881592"/>
                  <a:pt x="322659" y="595842"/>
                </a:cubicBezTo>
                <a:cubicBezTo>
                  <a:pt x="521097" y="310092"/>
                  <a:pt x="859234" y="210079"/>
                  <a:pt x="1237059" y="119592"/>
                </a:cubicBezTo>
                <a:cubicBezTo>
                  <a:pt x="1614884" y="29105"/>
                  <a:pt x="2016522" y="-59795"/>
                  <a:pt x="2589609" y="52917"/>
                </a:cubicBezTo>
                <a:cubicBezTo>
                  <a:pt x="3162696" y="165629"/>
                  <a:pt x="4332684" y="329142"/>
                  <a:pt x="4675584" y="795867"/>
                </a:cubicBezTo>
                <a:cubicBezTo>
                  <a:pt x="5018484" y="1262592"/>
                  <a:pt x="4824809" y="2264305"/>
                  <a:pt x="4647009" y="2853267"/>
                </a:cubicBezTo>
                <a:cubicBezTo>
                  <a:pt x="4469209" y="3442230"/>
                  <a:pt x="3800871" y="4034367"/>
                  <a:pt x="3608784" y="4329642"/>
                </a:cubicBezTo>
                <a:cubicBezTo>
                  <a:pt x="3416697" y="4624917"/>
                  <a:pt x="3545284" y="4540780"/>
                  <a:pt x="3494484" y="4624917"/>
                </a:cubicBezTo>
                <a:cubicBezTo>
                  <a:pt x="3443684" y="4709054"/>
                  <a:pt x="3386534" y="4834467"/>
                  <a:pt x="3303984" y="4834467"/>
                </a:cubicBezTo>
                <a:cubicBezTo>
                  <a:pt x="3221434" y="4834467"/>
                  <a:pt x="3129359" y="4742392"/>
                  <a:pt x="2999184" y="4624917"/>
                </a:cubicBezTo>
                <a:cubicBezTo>
                  <a:pt x="2869009" y="4507442"/>
                  <a:pt x="2789634" y="4339167"/>
                  <a:pt x="2522934" y="4129617"/>
                </a:cubicBezTo>
                <a:cubicBezTo>
                  <a:pt x="2256234" y="3920067"/>
                  <a:pt x="1795859" y="3662892"/>
                  <a:pt x="1398984" y="3367617"/>
                </a:cubicBezTo>
                <a:cubicBezTo>
                  <a:pt x="1002109" y="3072342"/>
                  <a:pt x="362347" y="2610380"/>
                  <a:pt x="141684" y="2357967"/>
                </a:cubicBezTo>
                <a:cubicBezTo>
                  <a:pt x="-78979" y="2105555"/>
                  <a:pt x="16272" y="2127779"/>
                  <a:pt x="46434" y="1834092"/>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7" name="Prostokąt 46">
            <a:extLst>
              <a:ext uri="{FF2B5EF4-FFF2-40B4-BE49-F238E27FC236}">
                <a16:creationId xmlns:a16="http://schemas.microsoft.com/office/drawing/2014/main" id="{2BD24E9C-89EA-41D4-835A-1E5FB47B7060}"/>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8" name="Prostokąt 47">
            <a:extLst>
              <a:ext uri="{FF2B5EF4-FFF2-40B4-BE49-F238E27FC236}">
                <a16:creationId xmlns:a16="http://schemas.microsoft.com/office/drawing/2014/main" id="{E6733CF0-37F0-4899-B9D1-78878C663EE2}"/>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9" name="Prostokąt 48">
            <a:extLst>
              <a:ext uri="{FF2B5EF4-FFF2-40B4-BE49-F238E27FC236}">
                <a16:creationId xmlns:a16="http://schemas.microsoft.com/office/drawing/2014/main" id="{FA753D29-6F6D-4771-8838-67983789D2E8}"/>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0" name="Obraz 49">
            <a:extLst>
              <a:ext uri="{FF2B5EF4-FFF2-40B4-BE49-F238E27FC236}">
                <a16:creationId xmlns:a16="http://schemas.microsoft.com/office/drawing/2014/main" id="{C6B121E1-8951-4ECF-AAF6-29B2D70EC0EF}"/>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51" name="Obraz 50">
            <a:extLst>
              <a:ext uri="{FF2B5EF4-FFF2-40B4-BE49-F238E27FC236}">
                <a16:creationId xmlns:a16="http://schemas.microsoft.com/office/drawing/2014/main" id="{21115409-81F8-4714-A24A-06A1162001D8}"/>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52" name="Obraz 51">
            <a:extLst>
              <a:ext uri="{FF2B5EF4-FFF2-40B4-BE49-F238E27FC236}">
                <a16:creationId xmlns:a16="http://schemas.microsoft.com/office/drawing/2014/main" id="{C58FA327-582A-41DD-97A8-1D70D5B1AC0C}"/>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53" name="Łącznik prosty ze strzałką 52">
            <a:extLst>
              <a:ext uri="{FF2B5EF4-FFF2-40B4-BE49-F238E27FC236}">
                <a16:creationId xmlns:a16="http://schemas.microsoft.com/office/drawing/2014/main" id="{98AE3FFD-8CAF-4F1F-9AA7-75D84DB4566D}"/>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4" name="Łącznik prosty ze strzałką 53">
            <a:extLst>
              <a:ext uri="{FF2B5EF4-FFF2-40B4-BE49-F238E27FC236}">
                <a16:creationId xmlns:a16="http://schemas.microsoft.com/office/drawing/2014/main" id="{80EC2BB8-26C6-48CA-9FA1-406B56DA6547}"/>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5" name="Łącznik prosty ze strzałką 54">
            <a:extLst>
              <a:ext uri="{FF2B5EF4-FFF2-40B4-BE49-F238E27FC236}">
                <a16:creationId xmlns:a16="http://schemas.microsoft.com/office/drawing/2014/main" id="{DA6D38AE-E4CD-4360-A5F8-A446B4677CD2}"/>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6" name="Łącznik prosty ze strzałką 55">
            <a:extLst>
              <a:ext uri="{FF2B5EF4-FFF2-40B4-BE49-F238E27FC236}">
                <a16:creationId xmlns:a16="http://schemas.microsoft.com/office/drawing/2014/main" id="{CEA3282D-AB4D-4763-8E8C-F139398333FD}"/>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pic>
        <p:nvPicPr>
          <p:cNvPr id="59" name="Obraz 58">
            <a:extLst>
              <a:ext uri="{FF2B5EF4-FFF2-40B4-BE49-F238E27FC236}">
                <a16:creationId xmlns:a16="http://schemas.microsoft.com/office/drawing/2014/main" id="{F55E4FA0-86F8-4297-8AFB-A2A709A0E973}"/>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60" name="Obraz 59">
            <a:extLst>
              <a:ext uri="{FF2B5EF4-FFF2-40B4-BE49-F238E27FC236}">
                <a16:creationId xmlns:a16="http://schemas.microsoft.com/office/drawing/2014/main" id="{43C6ABCD-C408-4370-BB62-6C2A499448FD}"/>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16" name="Dowolny kształt: kształt 15">
            <a:extLst>
              <a:ext uri="{FF2B5EF4-FFF2-40B4-BE49-F238E27FC236}">
                <a16:creationId xmlns:a16="http://schemas.microsoft.com/office/drawing/2014/main" id="{78B5DC0F-79A4-4E61-B59F-30C1907089DC}"/>
              </a:ext>
            </a:extLst>
          </p:cNvPr>
          <p:cNvSpPr/>
          <p:nvPr/>
        </p:nvSpPr>
        <p:spPr>
          <a:xfrm>
            <a:off x="5353111" y="122875"/>
            <a:ext cx="6588673" cy="6381145"/>
          </a:xfrm>
          <a:custGeom>
            <a:avLst/>
            <a:gdLst>
              <a:gd name="connsiteX0" fmla="*/ 1212738 w 6588673"/>
              <a:gd name="connsiteY0" fmla="*/ 2868724 h 6381145"/>
              <a:gd name="connsiteX1" fmla="*/ 1700418 w 6588673"/>
              <a:gd name="connsiteY1" fmla="*/ 2729387 h 6381145"/>
              <a:gd name="connsiteX2" fmla="*/ 2405813 w 6588673"/>
              <a:gd name="connsiteY2" fmla="*/ 2973227 h 6381145"/>
              <a:gd name="connsiteX3" fmla="*/ 3320213 w 6588673"/>
              <a:gd name="connsiteY3" fmla="*/ 4558187 h 6381145"/>
              <a:gd name="connsiteX4" fmla="*/ 5331893 w 6588673"/>
              <a:gd name="connsiteY4" fmla="*/ 6160564 h 6381145"/>
              <a:gd name="connsiteX5" fmla="*/ 5845698 w 6588673"/>
              <a:gd name="connsiteY5" fmla="*/ 6369570 h 6381145"/>
              <a:gd name="connsiteX6" fmla="*/ 6455298 w 6588673"/>
              <a:gd name="connsiteY6" fmla="*/ 6186690 h 6381145"/>
              <a:gd name="connsiteX7" fmla="*/ 6585927 w 6588673"/>
              <a:gd name="connsiteY7" fmla="*/ 5742553 h 6381145"/>
              <a:gd name="connsiteX8" fmla="*/ 6524967 w 6588673"/>
              <a:gd name="connsiteY8" fmla="*/ 4549479 h 6381145"/>
              <a:gd name="connsiteX9" fmla="*/ 6307253 w 6588673"/>
              <a:gd name="connsiteY9" fmla="*/ 3565410 h 6381145"/>
              <a:gd name="connsiteX10" fmla="*/ 6498841 w 6588673"/>
              <a:gd name="connsiteY10" fmla="*/ 1841113 h 6381145"/>
              <a:gd name="connsiteX11" fmla="*/ 6098247 w 6588673"/>
              <a:gd name="connsiteY11" fmla="*/ 1057341 h 6381145"/>
              <a:gd name="connsiteX12" fmla="*/ 4617790 w 6588673"/>
              <a:gd name="connsiteY12" fmla="*/ 369364 h 6381145"/>
              <a:gd name="connsiteX13" fmla="*/ 3633721 w 6588673"/>
              <a:gd name="connsiteY13" fmla="*/ 3604 h 6381145"/>
              <a:gd name="connsiteX14" fmla="*/ 2022635 w 6588673"/>
              <a:gd name="connsiteY14" fmla="*/ 195193 h 6381145"/>
              <a:gd name="connsiteX15" fmla="*/ 698933 w 6588673"/>
              <a:gd name="connsiteY15" fmla="*/ 404199 h 6381145"/>
              <a:gd name="connsiteX16" fmla="*/ 159001 w 6588673"/>
              <a:gd name="connsiteY16" fmla="*/ 926713 h 6381145"/>
              <a:gd name="connsiteX17" fmla="*/ 28373 w 6588673"/>
              <a:gd name="connsiteY17" fmla="*/ 1806279 h 6381145"/>
              <a:gd name="connsiteX18" fmla="*/ 629264 w 6588673"/>
              <a:gd name="connsiteY18" fmla="*/ 2651010 h 6381145"/>
              <a:gd name="connsiteX19" fmla="*/ 925355 w 6588673"/>
              <a:gd name="connsiteY19" fmla="*/ 2860016 h 6381145"/>
              <a:gd name="connsiteX20" fmla="*/ 1212738 w 6588673"/>
              <a:gd name="connsiteY20" fmla="*/ 2868724 h 638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588673" h="6381145">
                <a:moveTo>
                  <a:pt x="1212738" y="2868724"/>
                </a:moveTo>
                <a:cubicBezTo>
                  <a:pt x="1341915" y="2846952"/>
                  <a:pt x="1501572" y="2711970"/>
                  <a:pt x="1700418" y="2729387"/>
                </a:cubicBezTo>
                <a:cubicBezTo>
                  <a:pt x="1899264" y="2746804"/>
                  <a:pt x="2135847" y="2668427"/>
                  <a:pt x="2405813" y="2973227"/>
                </a:cubicBezTo>
                <a:cubicBezTo>
                  <a:pt x="2675779" y="3278027"/>
                  <a:pt x="2832533" y="4026964"/>
                  <a:pt x="3320213" y="4558187"/>
                </a:cubicBezTo>
                <a:cubicBezTo>
                  <a:pt x="3807893" y="5089410"/>
                  <a:pt x="4910979" y="5858667"/>
                  <a:pt x="5331893" y="6160564"/>
                </a:cubicBezTo>
                <a:cubicBezTo>
                  <a:pt x="5752807" y="6462461"/>
                  <a:pt x="5658464" y="6365216"/>
                  <a:pt x="5845698" y="6369570"/>
                </a:cubicBezTo>
                <a:cubicBezTo>
                  <a:pt x="6032932" y="6373924"/>
                  <a:pt x="6331926" y="6291193"/>
                  <a:pt x="6455298" y="6186690"/>
                </a:cubicBezTo>
                <a:cubicBezTo>
                  <a:pt x="6578670" y="6082187"/>
                  <a:pt x="6574316" y="6015421"/>
                  <a:pt x="6585927" y="5742553"/>
                </a:cubicBezTo>
                <a:cubicBezTo>
                  <a:pt x="6597538" y="5469685"/>
                  <a:pt x="6571413" y="4912336"/>
                  <a:pt x="6524967" y="4549479"/>
                </a:cubicBezTo>
                <a:cubicBezTo>
                  <a:pt x="6478521" y="4186622"/>
                  <a:pt x="6311607" y="4016804"/>
                  <a:pt x="6307253" y="3565410"/>
                </a:cubicBezTo>
                <a:cubicBezTo>
                  <a:pt x="6302899" y="3114016"/>
                  <a:pt x="6533675" y="2259124"/>
                  <a:pt x="6498841" y="1841113"/>
                </a:cubicBezTo>
                <a:cubicBezTo>
                  <a:pt x="6464007" y="1423101"/>
                  <a:pt x="6411756" y="1302633"/>
                  <a:pt x="6098247" y="1057341"/>
                </a:cubicBezTo>
                <a:cubicBezTo>
                  <a:pt x="5784738" y="812049"/>
                  <a:pt x="5028544" y="544987"/>
                  <a:pt x="4617790" y="369364"/>
                </a:cubicBezTo>
                <a:cubicBezTo>
                  <a:pt x="4207036" y="193741"/>
                  <a:pt x="4066247" y="32632"/>
                  <a:pt x="3633721" y="3604"/>
                </a:cubicBezTo>
                <a:cubicBezTo>
                  <a:pt x="3201195" y="-25424"/>
                  <a:pt x="2511766" y="128427"/>
                  <a:pt x="2022635" y="195193"/>
                </a:cubicBezTo>
                <a:cubicBezTo>
                  <a:pt x="1533504" y="261959"/>
                  <a:pt x="1009539" y="282279"/>
                  <a:pt x="698933" y="404199"/>
                </a:cubicBezTo>
                <a:cubicBezTo>
                  <a:pt x="388327" y="526119"/>
                  <a:pt x="270761" y="693033"/>
                  <a:pt x="159001" y="926713"/>
                </a:cubicBezTo>
                <a:cubicBezTo>
                  <a:pt x="47241" y="1160393"/>
                  <a:pt x="-50004" y="1518896"/>
                  <a:pt x="28373" y="1806279"/>
                </a:cubicBezTo>
                <a:cubicBezTo>
                  <a:pt x="106750" y="2093662"/>
                  <a:pt x="479767" y="2475387"/>
                  <a:pt x="629264" y="2651010"/>
                </a:cubicBezTo>
                <a:cubicBezTo>
                  <a:pt x="778761" y="2826633"/>
                  <a:pt x="826658" y="2820828"/>
                  <a:pt x="925355" y="2860016"/>
                </a:cubicBezTo>
                <a:cubicBezTo>
                  <a:pt x="1024052" y="2899204"/>
                  <a:pt x="1083561" y="2890496"/>
                  <a:pt x="1212738" y="2868724"/>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6" name="pole tekstowe 45">
            <a:extLst>
              <a:ext uri="{FF2B5EF4-FFF2-40B4-BE49-F238E27FC236}">
                <a16:creationId xmlns:a16="http://schemas.microsoft.com/office/drawing/2014/main" id="{105D7CD9-DAE2-4F1E-ADC6-1EF4349FA48D}"/>
              </a:ext>
            </a:extLst>
          </p:cNvPr>
          <p:cNvSpPr txBox="1"/>
          <p:nvPr/>
        </p:nvSpPr>
        <p:spPr>
          <a:xfrm>
            <a:off x="6830215" y="2484264"/>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Fixed cascading value</a:t>
            </a:r>
          </a:p>
        </p:txBody>
      </p:sp>
      <p:sp>
        <p:nvSpPr>
          <p:cNvPr id="57" name="pole tekstowe 56">
            <a:extLst>
              <a:ext uri="{FF2B5EF4-FFF2-40B4-BE49-F238E27FC236}">
                <a16:creationId xmlns:a16="http://schemas.microsoft.com/office/drawing/2014/main" id="{0C30E632-BC35-400E-8F8D-B5FDC9AA7292}"/>
              </a:ext>
            </a:extLst>
          </p:cNvPr>
          <p:cNvSpPr txBox="1"/>
          <p:nvPr/>
        </p:nvSpPr>
        <p:spPr>
          <a:xfrm>
            <a:off x="7330264" y="3128891"/>
            <a:ext cx="3596049" cy="369332"/>
          </a:xfrm>
          <a:prstGeom prst="rect">
            <a:avLst/>
          </a:prstGeom>
          <a:noFill/>
        </p:spPr>
        <p:txBody>
          <a:bodyPr wrap="square" rtlCol="0">
            <a:spAutoFit/>
          </a:bodyPr>
          <a:lstStyle/>
          <a:p>
            <a:pPr marL="285750" indent="-285750">
              <a:buBlip>
                <a:blip r:embed="rId15"/>
              </a:buBlip>
            </a:pPr>
            <a:r>
              <a:rPr lang="en-US" dirty="0" err="1">
                <a:solidFill>
                  <a:srgbClr val="5C2D91"/>
                </a:solidFill>
                <a:latin typeface="Ubuntu" panose="020B0804030602030204" pitchFamily="34" charset="0"/>
              </a:rPr>
              <a:t>EditForm</a:t>
            </a:r>
            <a:r>
              <a:rPr lang="en-US" dirty="0">
                <a:solidFill>
                  <a:srgbClr val="5C2D91"/>
                </a:solidFill>
                <a:latin typeface="Ubuntu" panose="020B0804030602030204" pitchFamily="34" charset="0"/>
              </a:rPr>
              <a:t> component</a:t>
            </a:r>
          </a:p>
        </p:txBody>
      </p:sp>
      <p:sp>
        <p:nvSpPr>
          <p:cNvPr id="58" name="pole tekstowe 57">
            <a:extLst>
              <a:ext uri="{FF2B5EF4-FFF2-40B4-BE49-F238E27FC236}">
                <a16:creationId xmlns:a16="http://schemas.microsoft.com/office/drawing/2014/main" id="{130C56BB-7301-488A-9E72-5DE3A0E1F844}"/>
              </a:ext>
            </a:extLst>
          </p:cNvPr>
          <p:cNvSpPr txBox="1"/>
          <p:nvPr/>
        </p:nvSpPr>
        <p:spPr>
          <a:xfrm>
            <a:off x="7762264" y="3771814"/>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Built-in input components</a:t>
            </a:r>
          </a:p>
        </p:txBody>
      </p:sp>
      <p:sp>
        <p:nvSpPr>
          <p:cNvPr id="61" name="pole tekstowe 60">
            <a:extLst>
              <a:ext uri="{FF2B5EF4-FFF2-40B4-BE49-F238E27FC236}">
                <a16:creationId xmlns:a16="http://schemas.microsoft.com/office/drawing/2014/main" id="{871BE01F-6B6F-41E4-A1FD-B06224E7FA05}"/>
              </a:ext>
            </a:extLst>
          </p:cNvPr>
          <p:cNvSpPr txBox="1"/>
          <p:nvPr/>
        </p:nvSpPr>
        <p:spPr>
          <a:xfrm>
            <a:off x="8233465" y="4414737"/>
            <a:ext cx="3596049" cy="369332"/>
          </a:xfrm>
          <a:prstGeom prst="rect">
            <a:avLst/>
          </a:prstGeom>
          <a:noFill/>
        </p:spPr>
        <p:txBody>
          <a:bodyPr wrap="square" rtlCol="0">
            <a:spAutoFit/>
          </a:bodyPr>
          <a:lstStyle/>
          <a:p>
            <a:pPr marL="285750" indent="-285750">
              <a:buBlip>
                <a:blip r:embed="rId15"/>
              </a:buBlip>
            </a:pPr>
            <a:r>
              <a:rPr lang="en-US" dirty="0" err="1">
                <a:solidFill>
                  <a:srgbClr val="5C2D91"/>
                </a:solidFill>
                <a:latin typeface="Ubuntu" panose="020B0804030602030204" pitchFamily="34" charset="0"/>
              </a:rPr>
              <a:t>EditContext</a:t>
            </a:r>
            <a:endParaRPr lang="en-US" dirty="0">
              <a:solidFill>
                <a:srgbClr val="5C2D91"/>
              </a:solidFill>
              <a:latin typeface="Ubuntu" panose="020B0804030602030204" pitchFamily="34" charset="0"/>
            </a:endParaRPr>
          </a:p>
        </p:txBody>
      </p:sp>
    </p:spTree>
    <p:extLst>
      <p:ext uri="{BB962C8B-B14F-4D97-AF65-F5344CB8AC3E}">
        <p14:creationId xmlns:p14="http://schemas.microsoft.com/office/powerpoint/2010/main" val="14844833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46" name="Prostokąt 45">
            <a:extLst>
              <a:ext uri="{FF2B5EF4-FFF2-40B4-BE49-F238E27FC236}">
                <a16:creationId xmlns:a16="http://schemas.microsoft.com/office/drawing/2014/main" id="{9C45C4DB-8B07-48F5-BFE8-E300219DA801}"/>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7" name="Prostokąt 46">
            <a:extLst>
              <a:ext uri="{FF2B5EF4-FFF2-40B4-BE49-F238E27FC236}">
                <a16:creationId xmlns:a16="http://schemas.microsoft.com/office/drawing/2014/main" id="{4CE32C57-0714-4EE3-9B28-080009A49596}"/>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8" name="Prostokąt 47">
            <a:extLst>
              <a:ext uri="{FF2B5EF4-FFF2-40B4-BE49-F238E27FC236}">
                <a16:creationId xmlns:a16="http://schemas.microsoft.com/office/drawing/2014/main" id="{0BA88248-652B-45C4-9CAC-ECEA5D23705C}"/>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9" name="Obraz 48">
            <a:extLst>
              <a:ext uri="{FF2B5EF4-FFF2-40B4-BE49-F238E27FC236}">
                <a16:creationId xmlns:a16="http://schemas.microsoft.com/office/drawing/2014/main" id="{885F6015-94E8-4B76-B0A0-FA9D6A5E2B61}"/>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50" name="Obraz 49">
            <a:extLst>
              <a:ext uri="{FF2B5EF4-FFF2-40B4-BE49-F238E27FC236}">
                <a16:creationId xmlns:a16="http://schemas.microsoft.com/office/drawing/2014/main" id="{B8F4A2E6-D7E0-4739-AE1E-3617B3A27816}"/>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51" name="Obraz 50">
            <a:extLst>
              <a:ext uri="{FF2B5EF4-FFF2-40B4-BE49-F238E27FC236}">
                <a16:creationId xmlns:a16="http://schemas.microsoft.com/office/drawing/2014/main" id="{6DE2FF86-C16B-4857-9891-E6BBEE018F48}"/>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52" name="Łącznik prosty ze strzałką 51">
            <a:extLst>
              <a:ext uri="{FF2B5EF4-FFF2-40B4-BE49-F238E27FC236}">
                <a16:creationId xmlns:a16="http://schemas.microsoft.com/office/drawing/2014/main" id="{A203FE92-0F4A-4BBC-845F-69953344713C}"/>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3" name="Łącznik prosty ze strzałką 52">
            <a:extLst>
              <a:ext uri="{FF2B5EF4-FFF2-40B4-BE49-F238E27FC236}">
                <a16:creationId xmlns:a16="http://schemas.microsoft.com/office/drawing/2014/main" id="{BC469E41-627A-4C2A-8012-D02AF9211AE2}"/>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4" name="Łącznik prosty ze strzałką 53">
            <a:extLst>
              <a:ext uri="{FF2B5EF4-FFF2-40B4-BE49-F238E27FC236}">
                <a16:creationId xmlns:a16="http://schemas.microsoft.com/office/drawing/2014/main" id="{6C89779A-726D-4E0C-A41F-C4127E3828CD}"/>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5" name="Łącznik prosty ze strzałką 54">
            <a:extLst>
              <a:ext uri="{FF2B5EF4-FFF2-40B4-BE49-F238E27FC236}">
                <a16:creationId xmlns:a16="http://schemas.microsoft.com/office/drawing/2014/main" id="{518AF4CB-C028-4AC1-9845-2744AC1F690F}"/>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pic>
        <p:nvPicPr>
          <p:cNvPr id="60" name="Obraz 59">
            <a:extLst>
              <a:ext uri="{FF2B5EF4-FFF2-40B4-BE49-F238E27FC236}">
                <a16:creationId xmlns:a16="http://schemas.microsoft.com/office/drawing/2014/main" id="{422734A7-DCE2-40B4-8FB8-2AF41B7E438F}"/>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61" name="Obraz 60">
            <a:extLst>
              <a:ext uri="{FF2B5EF4-FFF2-40B4-BE49-F238E27FC236}">
                <a16:creationId xmlns:a16="http://schemas.microsoft.com/office/drawing/2014/main" id="{634E8EA0-D278-4E8F-AA68-EB7E94412C1B}"/>
              </a:ext>
            </a:extLst>
          </p:cNvPr>
          <p:cNvPicPr>
            <a:picLocks noChangeAspect="1"/>
          </p:cNvPicPr>
          <p:nvPr/>
        </p:nvPicPr>
        <p:blipFill>
          <a:blip r:embed="rId14"/>
          <a:stretch>
            <a:fillRect/>
          </a:stretch>
        </p:blipFill>
        <p:spPr>
          <a:xfrm>
            <a:off x="10566109" y="1506880"/>
            <a:ext cx="902037" cy="680286"/>
          </a:xfrm>
          <a:prstGeom prst="rect">
            <a:avLst/>
          </a:prstGeom>
        </p:spPr>
      </p:pic>
    </p:spTree>
    <p:extLst>
      <p:ext uri="{BB962C8B-B14F-4D97-AF65-F5344CB8AC3E}">
        <p14:creationId xmlns:p14="http://schemas.microsoft.com/office/powerpoint/2010/main" val="1103299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Obraz 8">
            <a:extLst>
              <a:ext uri="{FF2B5EF4-FFF2-40B4-BE49-F238E27FC236}">
                <a16:creationId xmlns:a16="http://schemas.microsoft.com/office/drawing/2014/main" id="{E15FB165-DB58-4F84-B743-7680B9991186}"/>
              </a:ext>
            </a:extLst>
          </p:cNvPr>
          <p:cNvPicPr>
            <a:picLocks noChangeAspect="1"/>
          </p:cNvPicPr>
          <p:nvPr/>
        </p:nvPicPr>
        <p:blipFill>
          <a:blip r:embed="rId3">
            <a:clrChange>
              <a:clrFrom>
                <a:srgbClr val="ECECEC"/>
              </a:clrFrom>
              <a:clrTo>
                <a:srgbClr val="ECECEC">
                  <a:alpha val="0"/>
                </a:srgbClr>
              </a:clrTo>
            </a:clrChange>
          </a:blip>
          <a:stretch>
            <a:fillRect/>
          </a:stretch>
        </p:blipFill>
        <p:spPr>
          <a:xfrm>
            <a:off x="9561847" y="4014981"/>
            <a:ext cx="2305050" cy="2314575"/>
          </a:xfrm>
          <a:prstGeom prst="rect">
            <a:avLst/>
          </a:prstGeom>
        </p:spPr>
      </p:pic>
      <p:pic>
        <p:nvPicPr>
          <p:cNvPr id="8" name="Obraz 7">
            <a:extLst>
              <a:ext uri="{FF2B5EF4-FFF2-40B4-BE49-F238E27FC236}">
                <a16:creationId xmlns:a16="http://schemas.microsoft.com/office/drawing/2014/main" id="{3CAEBD62-9655-4EE2-8051-398DBDE24AC9}"/>
              </a:ext>
            </a:extLst>
          </p:cNvPr>
          <p:cNvPicPr>
            <a:picLocks noChangeAspect="1"/>
          </p:cNvPicPr>
          <p:nvPr/>
        </p:nvPicPr>
        <p:blipFill>
          <a:blip r:embed="rId4"/>
          <a:stretch>
            <a:fillRect/>
          </a:stretch>
        </p:blipFill>
        <p:spPr>
          <a:xfrm>
            <a:off x="4020675" y="4019744"/>
            <a:ext cx="2209800" cy="2219325"/>
          </a:xfrm>
          <a:prstGeom prst="rect">
            <a:avLst/>
          </a:prstGeom>
        </p:spPr>
      </p:pic>
      <p:sp>
        <p:nvSpPr>
          <p:cNvPr id="11" name="Title 12">
            <a:extLst>
              <a:ext uri="{FF2B5EF4-FFF2-40B4-BE49-F238E27FC236}">
                <a16:creationId xmlns:a16="http://schemas.microsoft.com/office/drawing/2014/main" id="{576F486B-D184-4F89-8B2C-6ABF4836A0C8}"/>
              </a:ext>
            </a:extLst>
          </p:cNvPr>
          <p:cNvSpPr>
            <a:spLocks noGrp="1"/>
          </p:cNvSpPr>
          <p:nvPr>
            <p:ph type="title"/>
          </p:nvPr>
        </p:nvSpPr>
        <p:spPr>
          <a:xfrm>
            <a:off x="6276424" y="1049444"/>
            <a:ext cx="5636422" cy="1785257"/>
          </a:xfrm>
        </p:spPr>
        <p:txBody>
          <a:bodyPr/>
          <a:lstStyle/>
          <a:p>
            <a:pPr algn="ctr"/>
            <a:r>
              <a:rPr lang="pl-PL" sz="4000" dirty="0">
                <a:latin typeface="Ubuntu" panose="020B0804030602030204" pitchFamily="34" charset="0"/>
              </a:rPr>
              <a:t>Demo #0</a:t>
            </a:r>
            <a:r>
              <a:rPr lang="en-US" sz="4000" dirty="0">
                <a:latin typeface="Ubuntu" panose="020B0804030602030204" pitchFamily="34" charset="0"/>
              </a:rPr>
              <a:t>6</a:t>
            </a:r>
            <a:endParaRPr lang="en-GB" sz="4000" dirty="0">
              <a:latin typeface="Ubuntu" panose="020B0804030602030204" pitchFamily="34" charset="0"/>
            </a:endParaRPr>
          </a:p>
        </p:txBody>
      </p:sp>
      <p:grpSp>
        <p:nvGrpSpPr>
          <p:cNvPr id="18" name="Groupe 600">
            <a:extLst>
              <a:ext uri="{FF2B5EF4-FFF2-40B4-BE49-F238E27FC236}">
                <a16:creationId xmlns:a16="http://schemas.microsoft.com/office/drawing/2014/main" id="{12BF94B6-B4B4-49A8-B38A-7A32FF53A07C}"/>
              </a:ext>
            </a:extLst>
          </p:cNvPr>
          <p:cNvGrpSpPr/>
          <p:nvPr/>
        </p:nvGrpSpPr>
        <p:grpSpPr>
          <a:xfrm>
            <a:off x="7320000" y="1592072"/>
            <a:ext cx="416250" cy="350000"/>
            <a:chOff x="2757488" y="4397376"/>
            <a:chExt cx="528638" cy="444500"/>
          </a:xfrm>
        </p:grpSpPr>
        <p:sp>
          <p:nvSpPr>
            <p:cNvPr id="19" name="Freeform 222">
              <a:extLst>
                <a:ext uri="{FF2B5EF4-FFF2-40B4-BE49-F238E27FC236}">
                  <a16:creationId xmlns:a16="http://schemas.microsoft.com/office/drawing/2014/main" id="{32ACB678-E895-418C-9821-164F61DF3953}"/>
                </a:ext>
              </a:extLst>
            </p:cNvPr>
            <p:cNvSpPr>
              <a:spLocks/>
            </p:cNvSpPr>
            <p:nvPr/>
          </p:nvSpPr>
          <p:spPr bwMode="auto">
            <a:xfrm>
              <a:off x="2984501" y="4624388"/>
              <a:ext cx="301625" cy="217488"/>
            </a:xfrm>
            <a:custGeom>
              <a:avLst/>
              <a:gdLst>
                <a:gd name="T0" fmla="*/ 87 w 89"/>
                <a:gd name="T1" fmla="*/ 33 h 64"/>
                <a:gd name="T2" fmla="*/ 50 w 89"/>
                <a:gd name="T3" fmla="*/ 6 h 64"/>
                <a:gd name="T4" fmla="*/ 46 w 89"/>
                <a:gd name="T5" fmla="*/ 8 h 64"/>
                <a:gd name="T6" fmla="*/ 46 w 89"/>
                <a:gd name="T7" fmla="*/ 25 h 64"/>
                <a:gd name="T8" fmla="*/ 33 w 89"/>
                <a:gd name="T9" fmla="*/ 25 h 64"/>
                <a:gd name="T10" fmla="*/ 23 w 89"/>
                <a:gd name="T11" fmla="*/ 20 h 64"/>
                <a:gd name="T12" fmla="*/ 10 w 89"/>
                <a:gd name="T13" fmla="*/ 0 h 64"/>
                <a:gd name="T14" fmla="*/ 0 w 89"/>
                <a:gd name="T15" fmla="*/ 17 h 64"/>
                <a:gd name="T16" fmla="*/ 7 w 89"/>
                <a:gd name="T17" fmla="*/ 29 h 64"/>
                <a:gd name="T18" fmla="*/ 33 w 89"/>
                <a:gd name="T19" fmla="*/ 43 h 64"/>
                <a:gd name="T20" fmla="*/ 46 w 89"/>
                <a:gd name="T21" fmla="*/ 43 h 64"/>
                <a:gd name="T22" fmla="*/ 46 w 89"/>
                <a:gd name="T23" fmla="*/ 61 h 64"/>
                <a:gd name="T24" fmla="*/ 50 w 89"/>
                <a:gd name="T25" fmla="*/ 63 h 64"/>
                <a:gd name="T26" fmla="*/ 87 w 89"/>
                <a:gd name="T27" fmla="*/ 37 h 64"/>
                <a:gd name="T28" fmla="*/ 87 w 89"/>
                <a:gd name="T29"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64">
                  <a:moveTo>
                    <a:pt x="87" y="33"/>
                  </a:moveTo>
                  <a:cubicBezTo>
                    <a:pt x="50" y="6"/>
                    <a:pt x="50" y="6"/>
                    <a:pt x="50" y="6"/>
                  </a:cubicBezTo>
                  <a:cubicBezTo>
                    <a:pt x="48" y="4"/>
                    <a:pt x="46" y="6"/>
                    <a:pt x="46" y="8"/>
                  </a:cubicBezTo>
                  <a:cubicBezTo>
                    <a:pt x="46" y="25"/>
                    <a:pt x="46" y="25"/>
                    <a:pt x="46" y="25"/>
                  </a:cubicBezTo>
                  <a:cubicBezTo>
                    <a:pt x="33" y="25"/>
                    <a:pt x="33" y="25"/>
                    <a:pt x="33" y="25"/>
                  </a:cubicBezTo>
                  <a:cubicBezTo>
                    <a:pt x="29" y="25"/>
                    <a:pt x="25" y="23"/>
                    <a:pt x="23" y="20"/>
                  </a:cubicBezTo>
                  <a:cubicBezTo>
                    <a:pt x="10" y="0"/>
                    <a:pt x="10" y="0"/>
                    <a:pt x="10" y="0"/>
                  </a:cubicBezTo>
                  <a:cubicBezTo>
                    <a:pt x="0" y="17"/>
                    <a:pt x="0" y="17"/>
                    <a:pt x="0" y="17"/>
                  </a:cubicBezTo>
                  <a:cubicBezTo>
                    <a:pt x="7" y="29"/>
                    <a:pt x="7" y="29"/>
                    <a:pt x="7" y="29"/>
                  </a:cubicBezTo>
                  <a:cubicBezTo>
                    <a:pt x="13" y="38"/>
                    <a:pt x="22" y="43"/>
                    <a:pt x="33" y="43"/>
                  </a:cubicBezTo>
                  <a:cubicBezTo>
                    <a:pt x="46" y="43"/>
                    <a:pt x="46" y="43"/>
                    <a:pt x="46" y="43"/>
                  </a:cubicBezTo>
                  <a:cubicBezTo>
                    <a:pt x="46" y="61"/>
                    <a:pt x="46" y="61"/>
                    <a:pt x="46" y="61"/>
                  </a:cubicBezTo>
                  <a:cubicBezTo>
                    <a:pt x="46" y="63"/>
                    <a:pt x="48" y="64"/>
                    <a:pt x="50" y="63"/>
                  </a:cubicBezTo>
                  <a:cubicBezTo>
                    <a:pt x="87" y="37"/>
                    <a:pt x="87" y="37"/>
                    <a:pt x="87" y="37"/>
                  </a:cubicBezTo>
                  <a:cubicBezTo>
                    <a:pt x="89" y="36"/>
                    <a:pt x="89" y="33"/>
                    <a:pt x="87" y="33"/>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23">
              <a:extLst>
                <a:ext uri="{FF2B5EF4-FFF2-40B4-BE49-F238E27FC236}">
                  <a16:creationId xmlns:a16="http://schemas.microsoft.com/office/drawing/2014/main" id="{065AD6A9-793C-4868-BA1D-9CEC79FB40B2}"/>
                </a:ext>
              </a:extLst>
            </p:cNvPr>
            <p:cNvSpPr>
              <a:spLocks/>
            </p:cNvSpPr>
            <p:nvPr/>
          </p:nvSpPr>
          <p:spPr bwMode="auto">
            <a:xfrm>
              <a:off x="2757488" y="4397376"/>
              <a:ext cx="528638" cy="366713"/>
            </a:xfrm>
            <a:custGeom>
              <a:avLst/>
              <a:gdLst>
                <a:gd name="T0" fmla="*/ 88 w 156"/>
                <a:gd name="T1" fmla="*/ 45 h 108"/>
                <a:gd name="T2" fmla="*/ 101 w 156"/>
                <a:gd name="T3" fmla="*/ 38 h 108"/>
                <a:gd name="T4" fmla="*/ 113 w 156"/>
                <a:gd name="T5" fmla="*/ 38 h 108"/>
                <a:gd name="T6" fmla="*/ 113 w 156"/>
                <a:gd name="T7" fmla="*/ 56 h 108"/>
                <a:gd name="T8" fmla="*/ 117 w 156"/>
                <a:gd name="T9" fmla="*/ 58 h 108"/>
                <a:gd name="T10" fmla="*/ 154 w 156"/>
                <a:gd name="T11" fmla="*/ 32 h 108"/>
                <a:gd name="T12" fmla="*/ 154 w 156"/>
                <a:gd name="T13" fmla="*/ 28 h 108"/>
                <a:gd name="T14" fmla="*/ 117 w 156"/>
                <a:gd name="T15" fmla="*/ 1 h 108"/>
                <a:gd name="T16" fmla="*/ 113 w 156"/>
                <a:gd name="T17" fmla="*/ 3 h 108"/>
                <a:gd name="T18" fmla="*/ 113 w 156"/>
                <a:gd name="T19" fmla="*/ 20 h 108"/>
                <a:gd name="T20" fmla="*/ 99 w 156"/>
                <a:gd name="T21" fmla="*/ 20 h 108"/>
                <a:gd name="T22" fmla="*/ 73 w 156"/>
                <a:gd name="T23" fmla="*/ 35 h 108"/>
                <a:gd name="T24" fmla="*/ 65 w 156"/>
                <a:gd name="T25" fmla="*/ 46 h 108"/>
                <a:gd name="T26" fmla="*/ 53 w 156"/>
                <a:gd name="T27" fmla="*/ 66 h 108"/>
                <a:gd name="T28" fmla="*/ 41 w 156"/>
                <a:gd name="T29" fmla="*/ 85 h 108"/>
                <a:gd name="T30" fmla="*/ 30 w 156"/>
                <a:gd name="T31" fmla="*/ 91 h 108"/>
                <a:gd name="T32" fmla="*/ 3 w 156"/>
                <a:gd name="T33" fmla="*/ 91 h 108"/>
                <a:gd name="T34" fmla="*/ 0 w 156"/>
                <a:gd name="T35" fmla="*/ 94 h 108"/>
                <a:gd name="T36" fmla="*/ 0 w 156"/>
                <a:gd name="T37" fmla="*/ 105 h 108"/>
                <a:gd name="T38" fmla="*/ 4 w 156"/>
                <a:gd name="T39" fmla="*/ 108 h 108"/>
                <a:gd name="T40" fmla="*/ 29 w 156"/>
                <a:gd name="T41" fmla="*/ 108 h 108"/>
                <a:gd name="T42" fmla="*/ 58 w 156"/>
                <a:gd name="T43" fmla="*/ 93 h 108"/>
                <a:gd name="T44" fmla="*/ 61 w 156"/>
                <a:gd name="T45" fmla="*/ 87 h 108"/>
                <a:gd name="T46" fmla="*/ 74 w 156"/>
                <a:gd name="T47" fmla="*/ 67 h 108"/>
                <a:gd name="T48" fmla="*/ 88 w 156"/>
                <a:gd name="T49" fmla="*/ 45 h 108"/>
                <a:gd name="T50" fmla="*/ 88 w 156"/>
                <a:gd name="T51" fmla="*/ 4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6" h="108">
                  <a:moveTo>
                    <a:pt x="88" y="45"/>
                  </a:moveTo>
                  <a:cubicBezTo>
                    <a:pt x="91" y="41"/>
                    <a:pt x="96" y="38"/>
                    <a:pt x="101" y="38"/>
                  </a:cubicBezTo>
                  <a:cubicBezTo>
                    <a:pt x="113" y="38"/>
                    <a:pt x="113" y="38"/>
                    <a:pt x="113" y="38"/>
                  </a:cubicBezTo>
                  <a:cubicBezTo>
                    <a:pt x="113" y="56"/>
                    <a:pt x="113" y="56"/>
                    <a:pt x="113" y="56"/>
                  </a:cubicBezTo>
                  <a:cubicBezTo>
                    <a:pt x="113" y="58"/>
                    <a:pt x="116" y="59"/>
                    <a:pt x="117" y="58"/>
                  </a:cubicBezTo>
                  <a:cubicBezTo>
                    <a:pt x="154" y="32"/>
                    <a:pt x="154" y="32"/>
                    <a:pt x="154" y="32"/>
                  </a:cubicBezTo>
                  <a:cubicBezTo>
                    <a:pt x="156" y="31"/>
                    <a:pt x="156" y="29"/>
                    <a:pt x="154" y="28"/>
                  </a:cubicBezTo>
                  <a:cubicBezTo>
                    <a:pt x="117" y="1"/>
                    <a:pt x="117" y="1"/>
                    <a:pt x="117" y="1"/>
                  </a:cubicBezTo>
                  <a:cubicBezTo>
                    <a:pt x="115" y="0"/>
                    <a:pt x="113" y="1"/>
                    <a:pt x="113" y="3"/>
                  </a:cubicBezTo>
                  <a:cubicBezTo>
                    <a:pt x="113" y="20"/>
                    <a:pt x="113" y="20"/>
                    <a:pt x="113" y="20"/>
                  </a:cubicBezTo>
                  <a:cubicBezTo>
                    <a:pt x="99" y="20"/>
                    <a:pt x="99" y="20"/>
                    <a:pt x="99" y="20"/>
                  </a:cubicBezTo>
                  <a:cubicBezTo>
                    <a:pt x="88" y="20"/>
                    <a:pt x="79" y="26"/>
                    <a:pt x="73" y="35"/>
                  </a:cubicBezTo>
                  <a:cubicBezTo>
                    <a:pt x="65" y="46"/>
                    <a:pt x="65" y="46"/>
                    <a:pt x="65" y="46"/>
                  </a:cubicBezTo>
                  <a:cubicBezTo>
                    <a:pt x="53" y="66"/>
                    <a:pt x="53" y="66"/>
                    <a:pt x="53" y="66"/>
                  </a:cubicBezTo>
                  <a:cubicBezTo>
                    <a:pt x="41" y="85"/>
                    <a:pt x="41" y="85"/>
                    <a:pt x="41" y="85"/>
                  </a:cubicBezTo>
                  <a:cubicBezTo>
                    <a:pt x="39" y="89"/>
                    <a:pt x="35" y="91"/>
                    <a:pt x="30" y="91"/>
                  </a:cubicBezTo>
                  <a:cubicBezTo>
                    <a:pt x="3" y="91"/>
                    <a:pt x="3" y="91"/>
                    <a:pt x="3" y="91"/>
                  </a:cubicBezTo>
                  <a:cubicBezTo>
                    <a:pt x="1" y="91"/>
                    <a:pt x="0" y="92"/>
                    <a:pt x="0" y="94"/>
                  </a:cubicBezTo>
                  <a:cubicBezTo>
                    <a:pt x="0" y="105"/>
                    <a:pt x="0" y="105"/>
                    <a:pt x="0" y="105"/>
                  </a:cubicBezTo>
                  <a:cubicBezTo>
                    <a:pt x="0" y="107"/>
                    <a:pt x="2" y="108"/>
                    <a:pt x="4" y="108"/>
                  </a:cubicBezTo>
                  <a:cubicBezTo>
                    <a:pt x="29" y="108"/>
                    <a:pt x="29" y="108"/>
                    <a:pt x="29" y="108"/>
                  </a:cubicBezTo>
                  <a:cubicBezTo>
                    <a:pt x="40" y="108"/>
                    <a:pt x="51" y="103"/>
                    <a:pt x="58" y="93"/>
                  </a:cubicBezTo>
                  <a:cubicBezTo>
                    <a:pt x="61" y="87"/>
                    <a:pt x="61" y="87"/>
                    <a:pt x="61" y="87"/>
                  </a:cubicBezTo>
                  <a:cubicBezTo>
                    <a:pt x="74" y="67"/>
                    <a:pt x="74" y="67"/>
                    <a:pt x="74" y="67"/>
                  </a:cubicBezTo>
                  <a:cubicBezTo>
                    <a:pt x="88" y="45"/>
                    <a:pt x="88" y="45"/>
                    <a:pt x="88" y="45"/>
                  </a:cubicBezTo>
                  <a:cubicBezTo>
                    <a:pt x="88" y="45"/>
                    <a:pt x="88" y="45"/>
                    <a:pt x="88" y="45"/>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24">
              <a:extLst>
                <a:ext uri="{FF2B5EF4-FFF2-40B4-BE49-F238E27FC236}">
                  <a16:creationId xmlns:a16="http://schemas.microsoft.com/office/drawing/2014/main" id="{122FFC05-FB28-4632-B8EF-89A4058C57CE}"/>
                </a:ext>
              </a:extLst>
            </p:cNvPr>
            <p:cNvSpPr>
              <a:spLocks/>
            </p:cNvSpPr>
            <p:nvPr/>
          </p:nvSpPr>
          <p:spPr bwMode="auto">
            <a:xfrm>
              <a:off x="2757488" y="4468813"/>
              <a:ext cx="217488" cy="134938"/>
            </a:xfrm>
            <a:custGeom>
              <a:avLst/>
              <a:gdLst>
                <a:gd name="T0" fmla="*/ 3 w 64"/>
                <a:gd name="T1" fmla="*/ 17 h 40"/>
                <a:gd name="T2" fmla="*/ 31 w 64"/>
                <a:gd name="T3" fmla="*/ 17 h 40"/>
                <a:gd name="T4" fmla="*/ 41 w 64"/>
                <a:gd name="T5" fmla="*/ 23 h 40"/>
                <a:gd name="T6" fmla="*/ 52 w 64"/>
                <a:gd name="T7" fmla="*/ 40 h 40"/>
                <a:gd name="T8" fmla="*/ 64 w 64"/>
                <a:gd name="T9" fmla="*/ 24 h 40"/>
                <a:gd name="T10" fmla="*/ 58 w 64"/>
                <a:gd name="T11" fmla="*/ 15 h 40"/>
                <a:gd name="T12" fmla="*/ 29 w 64"/>
                <a:gd name="T13" fmla="*/ 0 h 40"/>
                <a:gd name="T14" fmla="*/ 4 w 64"/>
                <a:gd name="T15" fmla="*/ 0 h 40"/>
                <a:gd name="T16" fmla="*/ 0 w 64"/>
                <a:gd name="T17" fmla="*/ 3 h 40"/>
                <a:gd name="T18" fmla="*/ 0 w 64"/>
                <a:gd name="T19" fmla="*/ 14 h 40"/>
                <a:gd name="T20" fmla="*/ 3 w 64"/>
                <a:gd name="T2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0">
                  <a:moveTo>
                    <a:pt x="3" y="17"/>
                  </a:moveTo>
                  <a:cubicBezTo>
                    <a:pt x="31" y="17"/>
                    <a:pt x="31" y="17"/>
                    <a:pt x="31" y="17"/>
                  </a:cubicBezTo>
                  <a:cubicBezTo>
                    <a:pt x="35" y="17"/>
                    <a:pt x="39" y="19"/>
                    <a:pt x="41" y="23"/>
                  </a:cubicBezTo>
                  <a:cubicBezTo>
                    <a:pt x="52" y="40"/>
                    <a:pt x="52" y="40"/>
                    <a:pt x="52" y="40"/>
                  </a:cubicBezTo>
                  <a:cubicBezTo>
                    <a:pt x="64" y="24"/>
                    <a:pt x="64" y="24"/>
                    <a:pt x="64" y="24"/>
                  </a:cubicBezTo>
                  <a:cubicBezTo>
                    <a:pt x="58" y="15"/>
                    <a:pt x="58" y="15"/>
                    <a:pt x="58" y="15"/>
                  </a:cubicBezTo>
                  <a:cubicBezTo>
                    <a:pt x="52" y="6"/>
                    <a:pt x="41" y="0"/>
                    <a:pt x="29" y="0"/>
                  </a:cubicBezTo>
                  <a:cubicBezTo>
                    <a:pt x="4" y="0"/>
                    <a:pt x="4" y="0"/>
                    <a:pt x="4" y="0"/>
                  </a:cubicBezTo>
                  <a:cubicBezTo>
                    <a:pt x="2" y="0"/>
                    <a:pt x="0" y="2"/>
                    <a:pt x="0" y="3"/>
                  </a:cubicBezTo>
                  <a:cubicBezTo>
                    <a:pt x="0" y="14"/>
                    <a:pt x="0" y="14"/>
                    <a:pt x="0" y="14"/>
                  </a:cubicBezTo>
                  <a:cubicBezTo>
                    <a:pt x="0" y="16"/>
                    <a:pt x="1" y="17"/>
                    <a:pt x="3" y="17"/>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285733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46" name="Prostokąt 45">
            <a:extLst>
              <a:ext uri="{FF2B5EF4-FFF2-40B4-BE49-F238E27FC236}">
                <a16:creationId xmlns:a16="http://schemas.microsoft.com/office/drawing/2014/main" id="{99740C7F-4585-40ED-B66E-5AE59B878F2A}"/>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7" name="Prostokąt 46">
            <a:extLst>
              <a:ext uri="{FF2B5EF4-FFF2-40B4-BE49-F238E27FC236}">
                <a16:creationId xmlns:a16="http://schemas.microsoft.com/office/drawing/2014/main" id="{28BC289F-A499-4BF9-889B-04733D50152B}"/>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8" name="Prostokąt 47">
            <a:extLst>
              <a:ext uri="{FF2B5EF4-FFF2-40B4-BE49-F238E27FC236}">
                <a16:creationId xmlns:a16="http://schemas.microsoft.com/office/drawing/2014/main" id="{EBE431DA-52FE-47D2-A6DF-72E4F158DE1A}"/>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9" name="Obraz 48">
            <a:extLst>
              <a:ext uri="{FF2B5EF4-FFF2-40B4-BE49-F238E27FC236}">
                <a16:creationId xmlns:a16="http://schemas.microsoft.com/office/drawing/2014/main" id="{6BC685FF-BD9B-4ED5-B0AF-3D98D64A55A5}"/>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50" name="Obraz 49">
            <a:extLst>
              <a:ext uri="{FF2B5EF4-FFF2-40B4-BE49-F238E27FC236}">
                <a16:creationId xmlns:a16="http://schemas.microsoft.com/office/drawing/2014/main" id="{A2CBFE88-D626-4FDA-ADB4-E79C8BD34FCE}"/>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51" name="Obraz 50">
            <a:extLst>
              <a:ext uri="{FF2B5EF4-FFF2-40B4-BE49-F238E27FC236}">
                <a16:creationId xmlns:a16="http://schemas.microsoft.com/office/drawing/2014/main" id="{859470F5-0DF7-4F6B-98E1-E301E2752946}"/>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52" name="Łącznik prosty ze strzałką 51">
            <a:extLst>
              <a:ext uri="{FF2B5EF4-FFF2-40B4-BE49-F238E27FC236}">
                <a16:creationId xmlns:a16="http://schemas.microsoft.com/office/drawing/2014/main" id="{22B324E6-9D98-494E-B876-10CBA4D150C5}"/>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3" name="Łącznik prosty ze strzałką 52">
            <a:extLst>
              <a:ext uri="{FF2B5EF4-FFF2-40B4-BE49-F238E27FC236}">
                <a16:creationId xmlns:a16="http://schemas.microsoft.com/office/drawing/2014/main" id="{2A9AFADA-F9E8-41FE-9548-8B07450186FB}"/>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4" name="Łącznik prosty ze strzałką 53">
            <a:extLst>
              <a:ext uri="{FF2B5EF4-FFF2-40B4-BE49-F238E27FC236}">
                <a16:creationId xmlns:a16="http://schemas.microsoft.com/office/drawing/2014/main" id="{FAB15F1E-8D8F-45CB-B069-62F50009FB40}"/>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5" name="Łącznik prosty ze strzałką 54">
            <a:extLst>
              <a:ext uri="{FF2B5EF4-FFF2-40B4-BE49-F238E27FC236}">
                <a16:creationId xmlns:a16="http://schemas.microsoft.com/office/drawing/2014/main" id="{18B957FE-8EA2-473E-B55C-67E7D3B642A2}"/>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14" name="Dowolny kształt: kształt 13">
            <a:extLst>
              <a:ext uri="{FF2B5EF4-FFF2-40B4-BE49-F238E27FC236}">
                <a16:creationId xmlns:a16="http://schemas.microsoft.com/office/drawing/2014/main" id="{3D55C4D3-B297-4C58-8049-FF1AC16A453B}"/>
              </a:ext>
            </a:extLst>
          </p:cNvPr>
          <p:cNvSpPr/>
          <p:nvPr/>
        </p:nvSpPr>
        <p:spPr>
          <a:xfrm>
            <a:off x="189836" y="312836"/>
            <a:ext cx="7931067" cy="6486400"/>
          </a:xfrm>
          <a:custGeom>
            <a:avLst/>
            <a:gdLst>
              <a:gd name="connsiteX0" fmla="*/ 1753 w 7931067"/>
              <a:gd name="connsiteY0" fmla="*/ 1812055 h 6486400"/>
              <a:gd name="connsiteX1" fmla="*/ 228175 w 7931067"/>
              <a:gd name="connsiteY1" fmla="*/ 767027 h 6486400"/>
              <a:gd name="connsiteX2" fmla="*/ 890027 w 7931067"/>
              <a:gd name="connsiteY2" fmla="*/ 122593 h 6486400"/>
              <a:gd name="connsiteX3" fmla="*/ 2744953 w 7931067"/>
              <a:gd name="connsiteY3" fmla="*/ 35507 h 6486400"/>
              <a:gd name="connsiteX4" fmla="*/ 4190575 w 7931067"/>
              <a:gd name="connsiteY4" fmla="*/ 540604 h 6486400"/>
              <a:gd name="connsiteX5" fmla="*/ 5157227 w 7931067"/>
              <a:gd name="connsiteY5" fmla="*/ 1829473 h 6486400"/>
              <a:gd name="connsiteX6" fmla="*/ 5270438 w 7931067"/>
              <a:gd name="connsiteY6" fmla="*/ 3736650 h 6486400"/>
              <a:gd name="connsiteX7" fmla="*/ 6315467 w 7931067"/>
              <a:gd name="connsiteY7" fmla="*/ 3710524 h 6486400"/>
              <a:gd name="connsiteX8" fmla="*/ 6689935 w 7931067"/>
              <a:gd name="connsiteY8" fmla="*/ 3562478 h 6486400"/>
              <a:gd name="connsiteX9" fmla="*/ 7160198 w 7931067"/>
              <a:gd name="connsiteY9" fmla="*/ 3571187 h 6486400"/>
              <a:gd name="connsiteX10" fmla="*/ 7464998 w 7931067"/>
              <a:gd name="connsiteY10" fmla="*/ 3963073 h 6486400"/>
              <a:gd name="connsiteX11" fmla="*/ 7883010 w 7931067"/>
              <a:gd name="connsiteY11" fmla="*/ 4912307 h 6486400"/>
              <a:gd name="connsiteX12" fmla="*/ 7795924 w 7931067"/>
              <a:gd name="connsiteY12" fmla="*/ 5887667 h 6486400"/>
              <a:gd name="connsiteX13" fmla="*/ 6759604 w 7931067"/>
              <a:gd name="connsiteY13" fmla="*/ 6410181 h 6486400"/>
              <a:gd name="connsiteX14" fmla="*/ 4774050 w 7931067"/>
              <a:gd name="connsiteY14" fmla="*/ 6453724 h 6486400"/>
              <a:gd name="connsiteX15" fmla="*/ 3598393 w 7931067"/>
              <a:gd name="connsiteY15" fmla="*/ 6122798 h 6486400"/>
              <a:gd name="connsiteX16" fmla="*/ 2988793 w 7931067"/>
              <a:gd name="connsiteY16" fmla="*/ 5521907 h 6486400"/>
              <a:gd name="connsiteX17" fmla="*/ 2892998 w 7931067"/>
              <a:gd name="connsiteY17" fmla="*/ 4990684 h 6486400"/>
              <a:gd name="connsiteX18" fmla="*/ 2614324 w 7931067"/>
              <a:gd name="connsiteY18" fmla="*/ 4224330 h 6486400"/>
              <a:gd name="connsiteX19" fmla="*/ 1978598 w 7931067"/>
              <a:gd name="connsiteY19" fmla="*/ 3754067 h 6486400"/>
              <a:gd name="connsiteX20" fmla="*/ 620061 w 7931067"/>
              <a:gd name="connsiteY20" fmla="*/ 2700330 h 6486400"/>
              <a:gd name="connsiteX21" fmla="*/ 149798 w 7931067"/>
              <a:gd name="connsiteY21" fmla="*/ 2125564 h 6486400"/>
              <a:gd name="connsiteX22" fmla="*/ 1753 w 7931067"/>
              <a:gd name="connsiteY22" fmla="*/ 1812055 h 6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31067" h="6486400">
                <a:moveTo>
                  <a:pt x="1753" y="1812055"/>
                </a:moveTo>
                <a:cubicBezTo>
                  <a:pt x="14816" y="1585632"/>
                  <a:pt x="80129" y="1048604"/>
                  <a:pt x="228175" y="767027"/>
                </a:cubicBezTo>
                <a:cubicBezTo>
                  <a:pt x="376221" y="485450"/>
                  <a:pt x="470564" y="244513"/>
                  <a:pt x="890027" y="122593"/>
                </a:cubicBezTo>
                <a:cubicBezTo>
                  <a:pt x="1309490" y="673"/>
                  <a:pt x="2194862" y="-34161"/>
                  <a:pt x="2744953" y="35507"/>
                </a:cubicBezTo>
                <a:cubicBezTo>
                  <a:pt x="3295044" y="105175"/>
                  <a:pt x="3788529" y="241610"/>
                  <a:pt x="4190575" y="540604"/>
                </a:cubicBezTo>
                <a:cubicBezTo>
                  <a:pt x="4592621" y="839598"/>
                  <a:pt x="4977250" y="1296799"/>
                  <a:pt x="5157227" y="1829473"/>
                </a:cubicBezTo>
                <a:cubicBezTo>
                  <a:pt x="5337204" y="2362147"/>
                  <a:pt x="5077398" y="3423142"/>
                  <a:pt x="5270438" y="3736650"/>
                </a:cubicBezTo>
                <a:cubicBezTo>
                  <a:pt x="5463478" y="4050158"/>
                  <a:pt x="6078884" y="3739553"/>
                  <a:pt x="6315467" y="3710524"/>
                </a:cubicBezTo>
                <a:cubicBezTo>
                  <a:pt x="6552050" y="3681495"/>
                  <a:pt x="6549147" y="3585701"/>
                  <a:pt x="6689935" y="3562478"/>
                </a:cubicBezTo>
                <a:cubicBezTo>
                  <a:pt x="6830723" y="3539255"/>
                  <a:pt x="7031021" y="3504421"/>
                  <a:pt x="7160198" y="3571187"/>
                </a:cubicBezTo>
                <a:cubicBezTo>
                  <a:pt x="7289375" y="3637953"/>
                  <a:pt x="7344529" y="3739553"/>
                  <a:pt x="7464998" y="3963073"/>
                </a:cubicBezTo>
                <a:cubicBezTo>
                  <a:pt x="7585467" y="4186593"/>
                  <a:pt x="7827856" y="4591541"/>
                  <a:pt x="7883010" y="4912307"/>
                </a:cubicBezTo>
                <a:cubicBezTo>
                  <a:pt x="7938164" y="5233073"/>
                  <a:pt x="7983158" y="5638021"/>
                  <a:pt x="7795924" y="5887667"/>
                </a:cubicBezTo>
                <a:cubicBezTo>
                  <a:pt x="7608690" y="6137313"/>
                  <a:pt x="7263250" y="6315838"/>
                  <a:pt x="6759604" y="6410181"/>
                </a:cubicBezTo>
                <a:cubicBezTo>
                  <a:pt x="6255958" y="6504524"/>
                  <a:pt x="5300918" y="6501621"/>
                  <a:pt x="4774050" y="6453724"/>
                </a:cubicBezTo>
                <a:cubicBezTo>
                  <a:pt x="4247182" y="6405827"/>
                  <a:pt x="3895936" y="6278101"/>
                  <a:pt x="3598393" y="6122798"/>
                </a:cubicBezTo>
                <a:cubicBezTo>
                  <a:pt x="3300850" y="5967495"/>
                  <a:pt x="3106359" y="5710593"/>
                  <a:pt x="2988793" y="5521907"/>
                </a:cubicBezTo>
                <a:cubicBezTo>
                  <a:pt x="2871227" y="5333221"/>
                  <a:pt x="2955410" y="5206947"/>
                  <a:pt x="2892998" y="4990684"/>
                </a:cubicBezTo>
                <a:cubicBezTo>
                  <a:pt x="2830587" y="4774421"/>
                  <a:pt x="2766724" y="4430433"/>
                  <a:pt x="2614324" y="4224330"/>
                </a:cubicBezTo>
                <a:cubicBezTo>
                  <a:pt x="2461924" y="4018227"/>
                  <a:pt x="2310975" y="4008067"/>
                  <a:pt x="1978598" y="3754067"/>
                </a:cubicBezTo>
                <a:cubicBezTo>
                  <a:pt x="1646221" y="3500067"/>
                  <a:pt x="924861" y="2971747"/>
                  <a:pt x="620061" y="2700330"/>
                </a:cubicBezTo>
                <a:cubicBezTo>
                  <a:pt x="315261" y="2428913"/>
                  <a:pt x="249946" y="2270707"/>
                  <a:pt x="149798" y="2125564"/>
                </a:cubicBezTo>
                <a:cubicBezTo>
                  <a:pt x="49650" y="1980421"/>
                  <a:pt x="-11310" y="2038478"/>
                  <a:pt x="1753" y="1812055"/>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8" name="Obraz 57">
            <a:extLst>
              <a:ext uri="{FF2B5EF4-FFF2-40B4-BE49-F238E27FC236}">
                <a16:creationId xmlns:a16="http://schemas.microsoft.com/office/drawing/2014/main" id="{8E4A6941-F8FB-4653-A6AE-EA168B3DCB61}"/>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59" name="Obraz 58">
            <a:extLst>
              <a:ext uri="{FF2B5EF4-FFF2-40B4-BE49-F238E27FC236}">
                <a16:creationId xmlns:a16="http://schemas.microsoft.com/office/drawing/2014/main" id="{928582DF-1502-4F54-B452-50B4FAE2C541}"/>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15" name="Dowolny kształt: kształt 14">
            <a:extLst>
              <a:ext uri="{FF2B5EF4-FFF2-40B4-BE49-F238E27FC236}">
                <a16:creationId xmlns:a16="http://schemas.microsoft.com/office/drawing/2014/main" id="{4E43945B-1D92-43C8-B7AF-26AB048FFAF3}"/>
              </a:ext>
            </a:extLst>
          </p:cNvPr>
          <p:cNvSpPr/>
          <p:nvPr/>
        </p:nvSpPr>
        <p:spPr>
          <a:xfrm>
            <a:off x="5288432" y="58764"/>
            <a:ext cx="6629218" cy="6398971"/>
          </a:xfrm>
          <a:custGeom>
            <a:avLst/>
            <a:gdLst>
              <a:gd name="connsiteX0" fmla="*/ 1280162 w 6629218"/>
              <a:gd name="connsiteY0" fmla="*/ 2874573 h 6398971"/>
              <a:gd name="connsiteX1" fmla="*/ 731522 w 6629218"/>
              <a:gd name="connsiteY1" fmla="*/ 2831030 h 6398971"/>
              <a:gd name="connsiteX2" fmla="*/ 182882 w 6629218"/>
              <a:gd name="connsiteY2" fmla="*/ 2413019 h 6398971"/>
              <a:gd name="connsiteX3" fmla="*/ 34836 w 6629218"/>
              <a:gd name="connsiteY3" fmla="*/ 1542162 h 6398971"/>
              <a:gd name="connsiteX4" fmla="*/ 775065 w 6629218"/>
              <a:gd name="connsiteY4" fmla="*/ 810642 h 6398971"/>
              <a:gd name="connsiteX5" fmla="*/ 2673533 w 6629218"/>
              <a:gd name="connsiteY5" fmla="*/ 140082 h 6398971"/>
              <a:gd name="connsiteX6" fmla="*/ 3770813 w 6629218"/>
              <a:gd name="connsiteY6" fmla="*/ 9453 h 6398971"/>
              <a:gd name="connsiteX7" fmla="*/ 5059682 w 6629218"/>
              <a:gd name="connsiteY7" fmla="*/ 296836 h 6398971"/>
              <a:gd name="connsiteX8" fmla="*/ 6104710 w 6629218"/>
              <a:gd name="connsiteY8" fmla="*/ 949979 h 6398971"/>
              <a:gd name="connsiteX9" fmla="*/ 6487888 w 6629218"/>
              <a:gd name="connsiteY9" fmla="*/ 1690208 h 6398971"/>
              <a:gd name="connsiteX10" fmla="*/ 6461762 w 6629218"/>
              <a:gd name="connsiteY10" fmla="*/ 2691693 h 6398971"/>
              <a:gd name="connsiteX11" fmla="*/ 6235339 w 6629218"/>
              <a:gd name="connsiteY11" fmla="*/ 3797682 h 6398971"/>
              <a:gd name="connsiteX12" fmla="*/ 6383385 w 6629218"/>
              <a:gd name="connsiteY12" fmla="*/ 4694665 h 6398971"/>
              <a:gd name="connsiteX13" fmla="*/ 6627225 w 6629218"/>
              <a:gd name="connsiteY13" fmla="*/ 5434893 h 6398971"/>
              <a:gd name="connsiteX14" fmla="*/ 6479179 w 6629218"/>
              <a:gd name="connsiteY14" fmla="*/ 5983533 h 6398971"/>
              <a:gd name="connsiteX15" fmla="*/ 6139545 w 6629218"/>
              <a:gd name="connsiteY15" fmla="*/ 6375419 h 6398971"/>
              <a:gd name="connsiteX16" fmla="*/ 5050973 w 6629218"/>
              <a:gd name="connsiteY16" fmla="*/ 6209956 h 6398971"/>
              <a:gd name="connsiteX17" fmla="*/ 3796939 w 6629218"/>
              <a:gd name="connsiteY17" fmla="*/ 5034299 h 6398971"/>
              <a:gd name="connsiteX18" fmla="*/ 3126379 w 6629218"/>
              <a:gd name="connsiteY18" fmla="*/ 2639442 h 6398971"/>
              <a:gd name="connsiteX19" fmla="*/ 1619796 w 6629218"/>
              <a:gd name="connsiteY19" fmla="*/ 2752653 h 6398971"/>
              <a:gd name="connsiteX20" fmla="*/ 1280162 w 6629218"/>
              <a:gd name="connsiteY20" fmla="*/ 2874573 h 639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29218" h="6398971">
                <a:moveTo>
                  <a:pt x="1280162" y="2874573"/>
                </a:moveTo>
                <a:cubicBezTo>
                  <a:pt x="1132116" y="2887636"/>
                  <a:pt x="914402" y="2907956"/>
                  <a:pt x="731522" y="2831030"/>
                </a:cubicBezTo>
                <a:cubicBezTo>
                  <a:pt x="548642" y="2754104"/>
                  <a:pt x="298996" y="2627830"/>
                  <a:pt x="182882" y="2413019"/>
                </a:cubicBezTo>
                <a:cubicBezTo>
                  <a:pt x="66768" y="2198208"/>
                  <a:pt x="-63861" y="1809225"/>
                  <a:pt x="34836" y="1542162"/>
                </a:cubicBezTo>
                <a:cubicBezTo>
                  <a:pt x="133533" y="1275099"/>
                  <a:pt x="335282" y="1044322"/>
                  <a:pt x="775065" y="810642"/>
                </a:cubicBezTo>
                <a:cubicBezTo>
                  <a:pt x="1214848" y="576962"/>
                  <a:pt x="2174242" y="273613"/>
                  <a:pt x="2673533" y="140082"/>
                </a:cubicBezTo>
                <a:cubicBezTo>
                  <a:pt x="3172824" y="6551"/>
                  <a:pt x="3373121" y="-16673"/>
                  <a:pt x="3770813" y="9453"/>
                </a:cubicBezTo>
                <a:cubicBezTo>
                  <a:pt x="4168505" y="35579"/>
                  <a:pt x="4670699" y="140082"/>
                  <a:pt x="5059682" y="296836"/>
                </a:cubicBezTo>
                <a:cubicBezTo>
                  <a:pt x="5448665" y="453590"/>
                  <a:pt x="5866676" y="717750"/>
                  <a:pt x="6104710" y="949979"/>
                </a:cubicBezTo>
                <a:cubicBezTo>
                  <a:pt x="6342744" y="1182208"/>
                  <a:pt x="6428379" y="1399922"/>
                  <a:pt x="6487888" y="1690208"/>
                </a:cubicBezTo>
                <a:cubicBezTo>
                  <a:pt x="6547397" y="1980494"/>
                  <a:pt x="6503854" y="2340447"/>
                  <a:pt x="6461762" y="2691693"/>
                </a:cubicBezTo>
                <a:cubicBezTo>
                  <a:pt x="6419671" y="3042939"/>
                  <a:pt x="6248402" y="3463853"/>
                  <a:pt x="6235339" y="3797682"/>
                </a:cubicBezTo>
                <a:cubicBezTo>
                  <a:pt x="6222276" y="4131511"/>
                  <a:pt x="6318071" y="4421797"/>
                  <a:pt x="6383385" y="4694665"/>
                </a:cubicBezTo>
                <a:cubicBezTo>
                  <a:pt x="6448699" y="4967533"/>
                  <a:pt x="6611259" y="5220082"/>
                  <a:pt x="6627225" y="5434893"/>
                </a:cubicBezTo>
                <a:cubicBezTo>
                  <a:pt x="6643191" y="5649704"/>
                  <a:pt x="6560459" y="5826779"/>
                  <a:pt x="6479179" y="5983533"/>
                </a:cubicBezTo>
                <a:cubicBezTo>
                  <a:pt x="6397899" y="6140287"/>
                  <a:pt x="6377579" y="6337682"/>
                  <a:pt x="6139545" y="6375419"/>
                </a:cubicBezTo>
                <a:cubicBezTo>
                  <a:pt x="5901511" y="6413156"/>
                  <a:pt x="5441407" y="6433476"/>
                  <a:pt x="5050973" y="6209956"/>
                </a:cubicBezTo>
                <a:cubicBezTo>
                  <a:pt x="4660539" y="5986436"/>
                  <a:pt x="4117705" y="5629385"/>
                  <a:pt x="3796939" y="5034299"/>
                </a:cubicBezTo>
                <a:cubicBezTo>
                  <a:pt x="3476173" y="4439213"/>
                  <a:pt x="3489236" y="3019716"/>
                  <a:pt x="3126379" y="2639442"/>
                </a:cubicBezTo>
                <a:cubicBezTo>
                  <a:pt x="2763522" y="2259168"/>
                  <a:pt x="1927499" y="2713465"/>
                  <a:pt x="1619796" y="2752653"/>
                </a:cubicBezTo>
                <a:cubicBezTo>
                  <a:pt x="1312093" y="2791841"/>
                  <a:pt x="1428208" y="2861510"/>
                  <a:pt x="1280162" y="2874573"/>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13888733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46" name="Prostokąt 45">
            <a:extLst>
              <a:ext uri="{FF2B5EF4-FFF2-40B4-BE49-F238E27FC236}">
                <a16:creationId xmlns:a16="http://schemas.microsoft.com/office/drawing/2014/main" id="{99740C7F-4585-40ED-B66E-5AE59B878F2A}"/>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7" name="Prostokąt 46">
            <a:extLst>
              <a:ext uri="{FF2B5EF4-FFF2-40B4-BE49-F238E27FC236}">
                <a16:creationId xmlns:a16="http://schemas.microsoft.com/office/drawing/2014/main" id="{28BC289F-A499-4BF9-889B-04733D50152B}"/>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8" name="Prostokąt 47">
            <a:extLst>
              <a:ext uri="{FF2B5EF4-FFF2-40B4-BE49-F238E27FC236}">
                <a16:creationId xmlns:a16="http://schemas.microsoft.com/office/drawing/2014/main" id="{EBE431DA-52FE-47D2-A6DF-72E4F158DE1A}"/>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9" name="Obraz 48">
            <a:extLst>
              <a:ext uri="{FF2B5EF4-FFF2-40B4-BE49-F238E27FC236}">
                <a16:creationId xmlns:a16="http://schemas.microsoft.com/office/drawing/2014/main" id="{6BC685FF-BD9B-4ED5-B0AF-3D98D64A55A5}"/>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50" name="Obraz 49">
            <a:extLst>
              <a:ext uri="{FF2B5EF4-FFF2-40B4-BE49-F238E27FC236}">
                <a16:creationId xmlns:a16="http://schemas.microsoft.com/office/drawing/2014/main" id="{A2CBFE88-D626-4FDA-ADB4-E79C8BD34FCE}"/>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51" name="Obraz 50">
            <a:extLst>
              <a:ext uri="{FF2B5EF4-FFF2-40B4-BE49-F238E27FC236}">
                <a16:creationId xmlns:a16="http://schemas.microsoft.com/office/drawing/2014/main" id="{859470F5-0DF7-4F6B-98E1-E301E2752946}"/>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52" name="Łącznik prosty ze strzałką 51">
            <a:extLst>
              <a:ext uri="{FF2B5EF4-FFF2-40B4-BE49-F238E27FC236}">
                <a16:creationId xmlns:a16="http://schemas.microsoft.com/office/drawing/2014/main" id="{22B324E6-9D98-494E-B876-10CBA4D150C5}"/>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3" name="Łącznik prosty ze strzałką 52">
            <a:extLst>
              <a:ext uri="{FF2B5EF4-FFF2-40B4-BE49-F238E27FC236}">
                <a16:creationId xmlns:a16="http://schemas.microsoft.com/office/drawing/2014/main" id="{2A9AFADA-F9E8-41FE-9548-8B07450186FB}"/>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4" name="Łącznik prosty ze strzałką 53">
            <a:extLst>
              <a:ext uri="{FF2B5EF4-FFF2-40B4-BE49-F238E27FC236}">
                <a16:creationId xmlns:a16="http://schemas.microsoft.com/office/drawing/2014/main" id="{FAB15F1E-8D8F-45CB-B069-62F50009FB40}"/>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5" name="Łącznik prosty ze strzałką 54">
            <a:extLst>
              <a:ext uri="{FF2B5EF4-FFF2-40B4-BE49-F238E27FC236}">
                <a16:creationId xmlns:a16="http://schemas.microsoft.com/office/drawing/2014/main" id="{18B957FE-8EA2-473E-B55C-67E7D3B642A2}"/>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14" name="Dowolny kształt: kształt 13">
            <a:extLst>
              <a:ext uri="{FF2B5EF4-FFF2-40B4-BE49-F238E27FC236}">
                <a16:creationId xmlns:a16="http://schemas.microsoft.com/office/drawing/2014/main" id="{3D55C4D3-B297-4C58-8049-FF1AC16A453B}"/>
              </a:ext>
            </a:extLst>
          </p:cNvPr>
          <p:cNvSpPr/>
          <p:nvPr/>
        </p:nvSpPr>
        <p:spPr>
          <a:xfrm>
            <a:off x="189836" y="312836"/>
            <a:ext cx="7931067" cy="6486400"/>
          </a:xfrm>
          <a:custGeom>
            <a:avLst/>
            <a:gdLst>
              <a:gd name="connsiteX0" fmla="*/ 1753 w 7931067"/>
              <a:gd name="connsiteY0" fmla="*/ 1812055 h 6486400"/>
              <a:gd name="connsiteX1" fmla="*/ 228175 w 7931067"/>
              <a:gd name="connsiteY1" fmla="*/ 767027 h 6486400"/>
              <a:gd name="connsiteX2" fmla="*/ 890027 w 7931067"/>
              <a:gd name="connsiteY2" fmla="*/ 122593 h 6486400"/>
              <a:gd name="connsiteX3" fmla="*/ 2744953 w 7931067"/>
              <a:gd name="connsiteY3" fmla="*/ 35507 h 6486400"/>
              <a:gd name="connsiteX4" fmla="*/ 4190575 w 7931067"/>
              <a:gd name="connsiteY4" fmla="*/ 540604 h 6486400"/>
              <a:gd name="connsiteX5" fmla="*/ 5157227 w 7931067"/>
              <a:gd name="connsiteY5" fmla="*/ 1829473 h 6486400"/>
              <a:gd name="connsiteX6" fmla="*/ 5270438 w 7931067"/>
              <a:gd name="connsiteY6" fmla="*/ 3736650 h 6486400"/>
              <a:gd name="connsiteX7" fmla="*/ 6315467 w 7931067"/>
              <a:gd name="connsiteY7" fmla="*/ 3710524 h 6486400"/>
              <a:gd name="connsiteX8" fmla="*/ 6689935 w 7931067"/>
              <a:gd name="connsiteY8" fmla="*/ 3562478 h 6486400"/>
              <a:gd name="connsiteX9" fmla="*/ 7160198 w 7931067"/>
              <a:gd name="connsiteY9" fmla="*/ 3571187 h 6486400"/>
              <a:gd name="connsiteX10" fmla="*/ 7464998 w 7931067"/>
              <a:gd name="connsiteY10" fmla="*/ 3963073 h 6486400"/>
              <a:gd name="connsiteX11" fmla="*/ 7883010 w 7931067"/>
              <a:gd name="connsiteY11" fmla="*/ 4912307 h 6486400"/>
              <a:gd name="connsiteX12" fmla="*/ 7795924 w 7931067"/>
              <a:gd name="connsiteY12" fmla="*/ 5887667 h 6486400"/>
              <a:gd name="connsiteX13" fmla="*/ 6759604 w 7931067"/>
              <a:gd name="connsiteY13" fmla="*/ 6410181 h 6486400"/>
              <a:gd name="connsiteX14" fmla="*/ 4774050 w 7931067"/>
              <a:gd name="connsiteY14" fmla="*/ 6453724 h 6486400"/>
              <a:gd name="connsiteX15" fmla="*/ 3598393 w 7931067"/>
              <a:gd name="connsiteY15" fmla="*/ 6122798 h 6486400"/>
              <a:gd name="connsiteX16" fmla="*/ 2988793 w 7931067"/>
              <a:gd name="connsiteY16" fmla="*/ 5521907 h 6486400"/>
              <a:gd name="connsiteX17" fmla="*/ 2892998 w 7931067"/>
              <a:gd name="connsiteY17" fmla="*/ 4990684 h 6486400"/>
              <a:gd name="connsiteX18" fmla="*/ 2614324 w 7931067"/>
              <a:gd name="connsiteY18" fmla="*/ 4224330 h 6486400"/>
              <a:gd name="connsiteX19" fmla="*/ 1978598 w 7931067"/>
              <a:gd name="connsiteY19" fmla="*/ 3754067 h 6486400"/>
              <a:gd name="connsiteX20" fmla="*/ 620061 w 7931067"/>
              <a:gd name="connsiteY20" fmla="*/ 2700330 h 6486400"/>
              <a:gd name="connsiteX21" fmla="*/ 149798 w 7931067"/>
              <a:gd name="connsiteY21" fmla="*/ 2125564 h 6486400"/>
              <a:gd name="connsiteX22" fmla="*/ 1753 w 7931067"/>
              <a:gd name="connsiteY22" fmla="*/ 1812055 h 6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31067" h="6486400">
                <a:moveTo>
                  <a:pt x="1753" y="1812055"/>
                </a:moveTo>
                <a:cubicBezTo>
                  <a:pt x="14816" y="1585632"/>
                  <a:pt x="80129" y="1048604"/>
                  <a:pt x="228175" y="767027"/>
                </a:cubicBezTo>
                <a:cubicBezTo>
                  <a:pt x="376221" y="485450"/>
                  <a:pt x="470564" y="244513"/>
                  <a:pt x="890027" y="122593"/>
                </a:cubicBezTo>
                <a:cubicBezTo>
                  <a:pt x="1309490" y="673"/>
                  <a:pt x="2194862" y="-34161"/>
                  <a:pt x="2744953" y="35507"/>
                </a:cubicBezTo>
                <a:cubicBezTo>
                  <a:pt x="3295044" y="105175"/>
                  <a:pt x="3788529" y="241610"/>
                  <a:pt x="4190575" y="540604"/>
                </a:cubicBezTo>
                <a:cubicBezTo>
                  <a:pt x="4592621" y="839598"/>
                  <a:pt x="4977250" y="1296799"/>
                  <a:pt x="5157227" y="1829473"/>
                </a:cubicBezTo>
                <a:cubicBezTo>
                  <a:pt x="5337204" y="2362147"/>
                  <a:pt x="5077398" y="3423142"/>
                  <a:pt x="5270438" y="3736650"/>
                </a:cubicBezTo>
                <a:cubicBezTo>
                  <a:pt x="5463478" y="4050158"/>
                  <a:pt x="6078884" y="3739553"/>
                  <a:pt x="6315467" y="3710524"/>
                </a:cubicBezTo>
                <a:cubicBezTo>
                  <a:pt x="6552050" y="3681495"/>
                  <a:pt x="6549147" y="3585701"/>
                  <a:pt x="6689935" y="3562478"/>
                </a:cubicBezTo>
                <a:cubicBezTo>
                  <a:pt x="6830723" y="3539255"/>
                  <a:pt x="7031021" y="3504421"/>
                  <a:pt x="7160198" y="3571187"/>
                </a:cubicBezTo>
                <a:cubicBezTo>
                  <a:pt x="7289375" y="3637953"/>
                  <a:pt x="7344529" y="3739553"/>
                  <a:pt x="7464998" y="3963073"/>
                </a:cubicBezTo>
                <a:cubicBezTo>
                  <a:pt x="7585467" y="4186593"/>
                  <a:pt x="7827856" y="4591541"/>
                  <a:pt x="7883010" y="4912307"/>
                </a:cubicBezTo>
                <a:cubicBezTo>
                  <a:pt x="7938164" y="5233073"/>
                  <a:pt x="7983158" y="5638021"/>
                  <a:pt x="7795924" y="5887667"/>
                </a:cubicBezTo>
                <a:cubicBezTo>
                  <a:pt x="7608690" y="6137313"/>
                  <a:pt x="7263250" y="6315838"/>
                  <a:pt x="6759604" y="6410181"/>
                </a:cubicBezTo>
                <a:cubicBezTo>
                  <a:pt x="6255958" y="6504524"/>
                  <a:pt x="5300918" y="6501621"/>
                  <a:pt x="4774050" y="6453724"/>
                </a:cubicBezTo>
                <a:cubicBezTo>
                  <a:pt x="4247182" y="6405827"/>
                  <a:pt x="3895936" y="6278101"/>
                  <a:pt x="3598393" y="6122798"/>
                </a:cubicBezTo>
                <a:cubicBezTo>
                  <a:pt x="3300850" y="5967495"/>
                  <a:pt x="3106359" y="5710593"/>
                  <a:pt x="2988793" y="5521907"/>
                </a:cubicBezTo>
                <a:cubicBezTo>
                  <a:pt x="2871227" y="5333221"/>
                  <a:pt x="2955410" y="5206947"/>
                  <a:pt x="2892998" y="4990684"/>
                </a:cubicBezTo>
                <a:cubicBezTo>
                  <a:pt x="2830587" y="4774421"/>
                  <a:pt x="2766724" y="4430433"/>
                  <a:pt x="2614324" y="4224330"/>
                </a:cubicBezTo>
                <a:cubicBezTo>
                  <a:pt x="2461924" y="4018227"/>
                  <a:pt x="2310975" y="4008067"/>
                  <a:pt x="1978598" y="3754067"/>
                </a:cubicBezTo>
                <a:cubicBezTo>
                  <a:pt x="1646221" y="3500067"/>
                  <a:pt x="924861" y="2971747"/>
                  <a:pt x="620061" y="2700330"/>
                </a:cubicBezTo>
                <a:cubicBezTo>
                  <a:pt x="315261" y="2428913"/>
                  <a:pt x="249946" y="2270707"/>
                  <a:pt x="149798" y="2125564"/>
                </a:cubicBezTo>
                <a:cubicBezTo>
                  <a:pt x="49650" y="1980421"/>
                  <a:pt x="-11310" y="2038478"/>
                  <a:pt x="1753" y="1812055"/>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8" name="Obraz 57">
            <a:extLst>
              <a:ext uri="{FF2B5EF4-FFF2-40B4-BE49-F238E27FC236}">
                <a16:creationId xmlns:a16="http://schemas.microsoft.com/office/drawing/2014/main" id="{8E4A6941-F8FB-4653-A6AE-EA168B3DCB61}"/>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59" name="Obraz 58">
            <a:extLst>
              <a:ext uri="{FF2B5EF4-FFF2-40B4-BE49-F238E27FC236}">
                <a16:creationId xmlns:a16="http://schemas.microsoft.com/office/drawing/2014/main" id="{928582DF-1502-4F54-B452-50B4FAE2C541}"/>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15" name="Dowolny kształt: kształt 14">
            <a:extLst>
              <a:ext uri="{FF2B5EF4-FFF2-40B4-BE49-F238E27FC236}">
                <a16:creationId xmlns:a16="http://schemas.microsoft.com/office/drawing/2014/main" id="{4E43945B-1D92-43C8-B7AF-26AB048FFAF3}"/>
              </a:ext>
            </a:extLst>
          </p:cNvPr>
          <p:cNvSpPr/>
          <p:nvPr/>
        </p:nvSpPr>
        <p:spPr>
          <a:xfrm>
            <a:off x="5288432" y="58764"/>
            <a:ext cx="6629218" cy="6398971"/>
          </a:xfrm>
          <a:custGeom>
            <a:avLst/>
            <a:gdLst>
              <a:gd name="connsiteX0" fmla="*/ 1280162 w 6629218"/>
              <a:gd name="connsiteY0" fmla="*/ 2874573 h 6398971"/>
              <a:gd name="connsiteX1" fmla="*/ 731522 w 6629218"/>
              <a:gd name="connsiteY1" fmla="*/ 2831030 h 6398971"/>
              <a:gd name="connsiteX2" fmla="*/ 182882 w 6629218"/>
              <a:gd name="connsiteY2" fmla="*/ 2413019 h 6398971"/>
              <a:gd name="connsiteX3" fmla="*/ 34836 w 6629218"/>
              <a:gd name="connsiteY3" fmla="*/ 1542162 h 6398971"/>
              <a:gd name="connsiteX4" fmla="*/ 775065 w 6629218"/>
              <a:gd name="connsiteY4" fmla="*/ 810642 h 6398971"/>
              <a:gd name="connsiteX5" fmla="*/ 2673533 w 6629218"/>
              <a:gd name="connsiteY5" fmla="*/ 140082 h 6398971"/>
              <a:gd name="connsiteX6" fmla="*/ 3770813 w 6629218"/>
              <a:gd name="connsiteY6" fmla="*/ 9453 h 6398971"/>
              <a:gd name="connsiteX7" fmla="*/ 5059682 w 6629218"/>
              <a:gd name="connsiteY7" fmla="*/ 296836 h 6398971"/>
              <a:gd name="connsiteX8" fmla="*/ 6104710 w 6629218"/>
              <a:gd name="connsiteY8" fmla="*/ 949979 h 6398971"/>
              <a:gd name="connsiteX9" fmla="*/ 6487888 w 6629218"/>
              <a:gd name="connsiteY9" fmla="*/ 1690208 h 6398971"/>
              <a:gd name="connsiteX10" fmla="*/ 6461762 w 6629218"/>
              <a:gd name="connsiteY10" fmla="*/ 2691693 h 6398971"/>
              <a:gd name="connsiteX11" fmla="*/ 6235339 w 6629218"/>
              <a:gd name="connsiteY11" fmla="*/ 3797682 h 6398971"/>
              <a:gd name="connsiteX12" fmla="*/ 6383385 w 6629218"/>
              <a:gd name="connsiteY12" fmla="*/ 4694665 h 6398971"/>
              <a:gd name="connsiteX13" fmla="*/ 6627225 w 6629218"/>
              <a:gd name="connsiteY13" fmla="*/ 5434893 h 6398971"/>
              <a:gd name="connsiteX14" fmla="*/ 6479179 w 6629218"/>
              <a:gd name="connsiteY14" fmla="*/ 5983533 h 6398971"/>
              <a:gd name="connsiteX15" fmla="*/ 6139545 w 6629218"/>
              <a:gd name="connsiteY15" fmla="*/ 6375419 h 6398971"/>
              <a:gd name="connsiteX16" fmla="*/ 5050973 w 6629218"/>
              <a:gd name="connsiteY16" fmla="*/ 6209956 h 6398971"/>
              <a:gd name="connsiteX17" fmla="*/ 3796939 w 6629218"/>
              <a:gd name="connsiteY17" fmla="*/ 5034299 h 6398971"/>
              <a:gd name="connsiteX18" fmla="*/ 3126379 w 6629218"/>
              <a:gd name="connsiteY18" fmla="*/ 2639442 h 6398971"/>
              <a:gd name="connsiteX19" fmla="*/ 1619796 w 6629218"/>
              <a:gd name="connsiteY19" fmla="*/ 2752653 h 6398971"/>
              <a:gd name="connsiteX20" fmla="*/ 1280162 w 6629218"/>
              <a:gd name="connsiteY20" fmla="*/ 2874573 h 639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29218" h="6398971">
                <a:moveTo>
                  <a:pt x="1280162" y="2874573"/>
                </a:moveTo>
                <a:cubicBezTo>
                  <a:pt x="1132116" y="2887636"/>
                  <a:pt x="914402" y="2907956"/>
                  <a:pt x="731522" y="2831030"/>
                </a:cubicBezTo>
                <a:cubicBezTo>
                  <a:pt x="548642" y="2754104"/>
                  <a:pt x="298996" y="2627830"/>
                  <a:pt x="182882" y="2413019"/>
                </a:cubicBezTo>
                <a:cubicBezTo>
                  <a:pt x="66768" y="2198208"/>
                  <a:pt x="-63861" y="1809225"/>
                  <a:pt x="34836" y="1542162"/>
                </a:cubicBezTo>
                <a:cubicBezTo>
                  <a:pt x="133533" y="1275099"/>
                  <a:pt x="335282" y="1044322"/>
                  <a:pt x="775065" y="810642"/>
                </a:cubicBezTo>
                <a:cubicBezTo>
                  <a:pt x="1214848" y="576962"/>
                  <a:pt x="2174242" y="273613"/>
                  <a:pt x="2673533" y="140082"/>
                </a:cubicBezTo>
                <a:cubicBezTo>
                  <a:pt x="3172824" y="6551"/>
                  <a:pt x="3373121" y="-16673"/>
                  <a:pt x="3770813" y="9453"/>
                </a:cubicBezTo>
                <a:cubicBezTo>
                  <a:pt x="4168505" y="35579"/>
                  <a:pt x="4670699" y="140082"/>
                  <a:pt x="5059682" y="296836"/>
                </a:cubicBezTo>
                <a:cubicBezTo>
                  <a:pt x="5448665" y="453590"/>
                  <a:pt x="5866676" y="717750"/>
                  <a:pt x="6104710" y="949979"/>
                </a:cubicBezTo>
                <a:cubicBezTo>
                  <a:pt x="6342744" y="1182208"/>
                  <a:pt x="6428379" y="1399922"/>
                  <a:pt x="6487888" y="1690208"/>
                </a:cubicBezTo>
                <a:cubicBezTo>
                  <a:pt x="6547397" y="1980494"/>
                  <a:pt x="6503854" y="2340447"/>
                  <a:pt x="6461762" y="2691693"/>
                </a:cubicBezTo>
                <a:cubicBezTo>
                  <a:pt x="6419671" y="3042939"/>
                  <a:pt x="6248402" y="3463853"/>
                  <a:pt x="6235339" y="3797682"/>
                </a:cubicBezTo>
                <a:cubicBezTo>
                  <a:pt x="6222276" y="4131511"/>
                  <a:pt x="6318071" y="4421797"/>
                  <a:pt x="6383385" y="4694665"/>
                </a:cubicBezTo>
                <a:cubicBezTo>
                  <a:pt x="6448699" y="4967533"/>
                  <a:pt x="6611259" y="5220082"/>
                  <a:pt x="6627225" y="5434893"/>
                </a:cubicBezTo>
                <a:cubicBezTo>
                  <a:pt x="6643191" y="5649704"/>
                  <a:pt x="6560459" y="5826779"/>
                  <a:pt x="6479179" y="5983533"/>
                </a:cubicBezTo>
                <a:cubicBezTo>
                  <a:pt x="6397899" y="6140287"/>
                  <a:pt x="6377579" y="6337682"/>
                  <a:pt x="6139545" y="6375419"/>
                </a:cubicBezTo>
                <a:cubicBezTo>
                  <a:pt x="5901511" y="6413156"/>
                  <a:pt x="5441407" y="6433476"/>
                  <a:pt x="5050973" y="6209956"/>
                </a:cubicBezTo>
                <a:cubicBezTo>
                  <a:pt x="4660539" y="5986436"/>
                  <a:pt x="4117705" y="5629385"/>
                  <a:pt x="3796939" y="5034299"/>
                </a:cubicBezTo>
                <a:cubicBezTo>
                  <a:pt x="3476173" y="4439213"/>
                  <a:pt x="3489236" y="3019716"/>
                  <a:pt x="3126379" y="2639442"/>
                </a:cubicBezTo>
                <a:cubicBezTo>
                  <a:pt x="2763522" y="2259168"/>
                  <a:pt x="1927499" y="2713465"/>
                  <a:pt x="1619796" y="2752653"/>
                </a:cubicBezTo>
                <a:cubicBezTo>
                  <a:pt x="1312093" y="2791841"/>
                  <a:pt x="1428208" y="2861510"/>
                  <a:pt x="1280162" y="2874573"/>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6" name="pole tekstowe 55">
            <a:extLst>
              <a:ext uri="{FF2B5EF4-FFF2-40B4-BE49-F238E27FC236}">
                <a16:creationId xmlns:a16="http://schemas.microsoft.com/office/drawing/2014/main" id="{FEBF559A-6C44-4440-95F4-584E26F254C4}"/>
              </a:ext>
            </a:extLst>
          </p:cNvPr>
          <p:cNvSpPr txBox="1"/>
          <p:nvPr/>
        </p:nvSpPr>
        <p:spPr>
          <a:xfrm>
            <a:off x="6830215" y="2484264"/>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Generic render fragments</a:t>
            </a:r>
          </a:p>
        </p:txBody>
      </p:sp>
      <p:sp>
        <p:nvSpPr>
          <p:cNvPr id="57" name="pole tekstowe 56">
            <a:extLst>
              <a:ext uri="{FF2B5EF4-FFF2-40B4-BE49-F238E27FC236}">
                <a16:creationId xmlns:a16="http://schemas.microsoft.com/office/drawing/2014/main" id="{FBF45924-704C-4CA6-B02F-3B55DFA6DE6D}"/>
              </a:ext>
            </a:extLst>
          </p:cNvPr>
          <p:cNvSpPr txBox="1"/>
          <p:nvPr/>
        </p:nvSpPr>
        <p:spPr>
          <a:xfrm>
            <a:off x="7330264" y="3128891"/>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Template parameters</a:t>
            </a:r>
          </a:p>
        </p:txBody>
      </p:sp>
      <p:sp>
        <p:nvSpPr>
          <p:cNvPr id="60" name="pole tekstowe 59">
            <a:extLst>
              <a:ext uri="{FF2B5EF4-FFF2-40B4-BE49-F238E27FC236}">
                <a16:creationId xmlns:a16="http://schemas.microsoft.com/office/drawing/2014/main" id="{E0E3E2F2-CFCE-441D-A15D-6D2A46504BAD}"/>
              </a:ext>
            </a:extLst>
          </p:cNvPr>
          <p:cNvSpPr txBox="1"/>
          <p:nvPr/>
        </p:nvSpPr>
        <p:spPr>
          <a:xfrm>
            <a:off x="7762264" y="3771814"/>
            <a:ext cx="3924545"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Template context parameters</a:t>
            </a:r>
          </a:p>
        </p:txBody>
      </p:sp>
    </p:spTree>
    <p:extLst>
      <p:ext uri="{BB962C8B-B14F-4D97-AF65-F5344CB8AC3E}">
        <p14:creationId xmlns:p14="http://schemas.microsoft.com/office/powerpoint/2010/main" val="22558149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raz 4">
            <a:extLst>
              <a:ext uri="{FF2B5EF4-FFF2-40B4-BE49-F238E27FC236}">
                <a16:creationId xmlns:a16="http://schemas.microsoft.com/office/drawing/2014/main" id="{8C23BDE0-0924-4361-9FDD-5057F28E8755}"/>
              </a:ext>
            </a:extLst>
          </p:cNvPr>
          <p:cNvPicPr>
            <a:picLocks noChangeAspect="1"/>
          </p:cNvPicPr>
          <p:nvPr/>
        </p:nvPicPr>
        <p:blipFill>
          <a:blip r:embed="rId3">
            <a:clrChange>
              <a:clrFrom>
                <a:srgbClr val="ECECEC"/>
              </a:clrFrom>
              <a:clrTo>
                <a:srgbClr val="ECECEC">
                  <a:alpha val="0"/>
                </a:srgbClr>
              </a:clrTo>
            </a:clrChange>
          </a:blip>
          <a:stretch>
            <a:fillRect/>
          </a:stretch>
        </p:blipFill>
        <p:spPr>
          <a:xfrm>
            <a:off x="9556200" y="4221000"/>
            <a:ext cx="2314575" cy="2314575"/>
          </a:xfrm>
          <a:prstGeom prst="rect">
            <a:avLst/>
          </a:prstGeom>
        </p:spPr>
      </p:pic>
      <p:pic>
        <p:nvPicPr>
          <p:cNvPr id="2" name="Obraz 1">
            <a:extLst>
              <a:ext uri="{FF2B5EF4-FFF2-40B4-BE49-F238E27FC236}">
                <a16:creationId xmlns:a16="http://schemas.microsoft.com/office/drawing/2014/main" id="{E602F32D-AB1E-441B-8FF7-E93F1C1F72D1}"/>
              </a:ext>
            </a:extLst>
          </p:cNvPr>
          <p:cNvPicPr>
            <a:picLocks noChangeAspect="1"/>
          </p:cNvPicPr>
          <p:nvPr/>
        </p:nvPicPr>
        <p:blipFill>
          <a:blip r:embed="rId4"/>
          <a:stretch>
            <a:fillRect/>
          </a:stretch>
        </p:blipFill>
        <p:spPr>
          <a:xfrm>
            <a:off x="4651237" y="4221000"/>
            <a:ext cx="2219325" cy="2219325"/>
          </a:xfrm>
          <a:prstGeom prst="rect">
            <a:avLst/>
          </a:prstGeom>
        </p:spPr>
      </p:pic>
      <p:sp>
        <p:nvSpPr>
          <p:cNvPr id="11" name="Title 12">
            <a:extLst>
              <a:ext uri="{FF2B5EF4-FFF2-40B4-BE49-F238E27FC236}">
                <a16:creationId xmlns:a16="http://schemas.microsoft.com/office/drawing/2014/main" id="{576F486B-D184-4F89-8B2C-6ABF4836A0C8}"/>
              </a:ext>
            </a:extLst>
          </p:cNvPr>
          <p:cNvSpPr>
            <a:spLocks noGrp="1"/>
          </p:cNvSpPr>
          <p:nvPr>
            <p:ph type="title"/>
          </p:nvPr>
        </p:nvSpPr>
        <p:spPr>
          <a:xfrm>
            <a:off x="7032000" y="1341000"/>
            <a:ext cx="4500650" cy="1830078"/>
          </a:xfrm>
        </p:spPr>
        <p:txBody>
          <a:bodyPr/>
          <a:lstStyle/>
          <a:p>
            <a:pPr algn="ctr"/>
            <a:r>
              <a:rPr lang="pl-PL" sz="4000" dirty="0">
                <a:latin typeface="Ubuntu" panose="020B0804030602030204" pitchFamily="34" charset="0"/>
              </a:rPr>
              <a:t>Demo #0</a:t>
            </a:r>
            <a:r>
              <a:rPr lang="en-US" sz="4000" dirty="0">
                <a:latin typeface="Ubuntu" panose="020B0804030602030204" pitchFamily="34" charset="0"/>
              </a:rPr>
              <a:t>7</a:t>
            </a:r>
            <a:endParaRPr lang="en-GB" sz="4000" dirty="0">
              <a:latin typeface="Ubuntu" panose="020B0804030602030204" pitchFamily="34" charset="0"/>
            </a:endParaRPr>
          </a:p>
        </p:txBody>
      </p:sp>
      <p:grpSp>
        <p:nvGrpSpPr>
          <p:cNvPr id="26" name="Groupe 482">
            <a:extLst>
              <a:ext uri="{FF2B5EF4-FFF2-40B4-BE49-F238E27FC236}">
                <a16:creationId xmlns:a16="http://schemas.microsoft.com/office/drawing/2014/main" id="{844506A6-1398-43EA-947C-DA20D44A8D26}"/>
              </a:ext>
            </a:extLst>
          </p:cNvPr>
          <p:cNvGrpSpPr>
            <a:grpSpLocks noChangeAspect="1"/>
          </p:cNvGrpSpPr>
          <p:nvPr/>
        </p:nvGrpSpPr>
        <p:grpSpPr>
          <a:xfrm rot="20004553">
            <a:off x="7511093" y="1797585"/>
            <a:ext cx="496856" cy="244213"/>
            <a:chOff x="3361563" y="660166"/>
            <a:chExt cx="471356" cy="231679"/>
          </a:xfrm>
        </p:grpSpPr>
        <p:sp>
          <p:nvSpPr>
            <p:cNvPr id="27" name="Freeform 87">
              <a:extLst>
                <a:ext uri="{FF2B5EF4-FFF2-40B4-BE49-F238E27FC236}">
                  <a16:creationId xmlns:a16="http://schemas.microsoft.com/office/drawing/2014/main" id="{F624F3EE-94D4-4AE1-9E71-05151116733C}"/>
                </a:ext>
              </a:extLst>
            </p:cNvPr>
            <p:cNvSpPr>
              <a:spLocks/>
            </p:cNvSpPr>
            <p:nvPr/>
          </p:nvSpPr>
          <p:spPr bwMode="auto">
            <a:xfrm>
              <a:off x="3611347" y="660166"/>
              <a:ext cx="221572" cy="224525"/>
            </a:xfrm>
            <a:custGeom>
              <a:avLst/>
              <a:gdLst>
                <a:gd name="T0" fmla="*/ 27 w 32"/>
                <a:gd name="T1" fmla="*/ 15 h 32"/>
                <a:gd name="T2" fmla="*/ 29 w 32"/>
                <a:gd name="T3" fmla="*/ 16 h 32"/>
                <a:gd name="T4" fmla="*/ 31 w 32"/>
                <a:gd name="T5" fmla="*/ 17 h 32"/>
                <a:gd name="T6" fmla="*/ 32 w 32"/>
                <a:gd name="T7" fmla="*/ 15 h 32"/>
                <a:gd name="T8" fmla="*/ 32 w 32"/>
                <a:gd name="T9" fmla="*/ 10 h 32"/>
                <a:gd name="T10" fmla="*/ 30 w 32"/>
                <a:gd name="T11" fmla="*/ 9 h 32"/>
                <a:gd name="T12" fmla="*/ 24 w 32"/>
                <a:gd name="T13" fmla="*/ 9 h 32"/>
                <a:gd name="T14" fmla="*/ 22 w 32"/>
                <a:gd name="T15" fmla="*/ 8 h 32"/>
                <a:gd name="T16" fmla="*/ 23 w 32"/>
                <a:gd name="T17" fmla="*/ 6 h 32"/>
                <a:gd name="T18" fmla="*/ 24 w 32"/>
                <a:gd name="T19" fmla="*/ 4 h 32"/>
                <a:gd name="T20" fmla="*/ 20 w 32"/>
                <a:gd name="T21" fmla="*/ 0 h 32"/>
                <a:gd name="T22" fmla="*/ 20 w 32"/>
                <a:gd name="T23" fmla="*/ 0 h 32"/>
                <a:gd name="T24" fmla="*/ 17 w 32"/>
                <a:gd name="T25" fmla="*/ 4 h 32"/>
                <a:gd name="T26" fmla="*/ 17 w 32"/>
                <a:gd name="T27" fmla="*/ 6 h 32"/>
                <a:gd name="T28" fmla="*/ 19 w 32"/>
                <a:gd name="T29" fmla="*/ 7 h 32"/>
                <a:gd name="T30" fmla="*/ 17 w 32"/>
                <a:gd name="T31" fmla="*/ 9 h 32"/>
                <a:gd name="T32" fmla="*/ 10 w 32"/>
                <a:gd name="T33" fmla="*/ 9 h 32"/>
                <a:gd name="T34" fmla="*/ 9 w 32"/>
                <a:gd name="T35" fmla="*/ 10 h 32"/>
                <a:gd name="T36" fmla="*/ 9 w 32"/>
                <a:gd name="T37" fmla="*/ 16 h 32"/>
                <a:gd name="T38" fmla="*/ 8 w 32"/>
                <a:gd name="T39" fmla="*/ 17 h 32"/>
                <a:gd name="T40" fmla="*/ 6 w 32"/>
                <a:gd name="T41" fmla="*/ 16 h 32"/>
                <a:gd name="T42" fmla="*/ 4 w 32"/>
                <a:gd name="T43" fmla="*/ 15 h 32"/>
                <a:gd name="T44" fmla="*/ 0 w 32"/>
                <a:gd name="T45" fmla="*/ 19 h 32"/>
                <a:gd name="T46" fmla="*/ 4 w 32"/>
                <a:gd name="T47" fmla="*/ 22 h 32"/>
                <a:gd name="T48" fmla="*/ 6 w 32"/>
                <a:gd name="T49" fmla="*/ 22 h 32"/>
                <a:gd name="T50" fmla="*/ 8 w 32"/>
                <a:gd name="T51" fmla="*/ 20 h 32"/>
                <a:gd name="T52" fmla="*/ 9 w 32"/>
                <a:gd name="T53" fmla="*/ 22 h 32"/>
                <a:gd name="T54" fmla="*/ 9 w 32"/>
                <a:gd name="T55" fmla="*/ 31 h 32"/>
                <a:gd name="T56" fmla="*/ 10 w 32"/>
                <a:gd name="T57" fmla="*/ 32 h 32"/>
                <a:gd name="T58" fmla="*/ 17 w 32"/>
                <a:gd name="T59" fmla="*/ 32 h 32"/>
                <a:gd name="T60" fmla="*/ 19 w 32"/>
                <a:gd name="T61" fmla="*/ 31 h 32"/>
                <a:gd name="T62" fmla="*/ 17 w 32"/>
                <a:gd name="T63" fmla="*/ 29 h 32"/>
                <a:gd name="T64" fmla="*/ 17 w 32"/>
                <a:gd name="T65" fmla="*/ 27 h 32"/>
                <a:gd name="T66" fmla="*/ 20 w 32"/>
                <a:gd name="T67" fmla="*/ 23 h 32"/>
                <a:gd name="T68" fmla="*/ 20 w 32"/>
                <a:gd name="T69" fmla="*/ 23 h 32"/>
                <a:gd name="T70" fmla="*/ 24 w 32"/>
                <a:gd name="T71" fmla="*/ 27 h 32"/>
                <a:gd name="T72" fmla="*/ 23 w 32"/>
                <a:gd name="T73" fmla="*/ 29 h 32"/>
                <a:gd name="T74" fmla="*/ 22 w 32"/>
                <a:gd name="T75" fmla="*/ 31 h 32"/>
                <a:gd name="T76" fmla="*/ 24 w 32"/>
                <a:gd name="T77" fmla="*/ 32 h 32"/>
                <a:gd name="T78" fmla="*/ 30 w 32"/>
                <a:gd name="T79" fmla="*/ 32 h 32"/>
                <a:gd name="T80" fmla="*/ 32 w 32"/>
                <a:gd name="T81" fmla="*/ 31 h 32"/>
                <a:gd name="T82" fmla="*/ 32 w 32"/>
                <a:gd name="T83" fmla="*/ 22 h 32"/>
                <a:gd name="T84" fmla="*/ 31 w 32"/>
                <a:gd name="T85" fmla="*/ 20 h 32"/>
                <a:gd name="T86" fmla="*/ 29 w 32"/>
                <a:gd name="T87" fmla="*/ 22 h 32"/>
                <a:gd name="T88" fmla="*/ 27 w 32"/>
                <a:gd name="T89" fmla="*/ 22 h 32"/>
                <a:gd name="T90" fmla="*/ 23 w 32"/>
                <a:gd name="T91" fmla="*/ 19 h 32"/>
                <a:gd name="T92" fmla="*/ 27 w 32"/>
                <a:gd name="T9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32">
                  <a:moveTo>
                    <a:pt x="27" y="15"/>
                  </a:moveTo>
                  <a:cubicBezTo>
                    <a:pt x="28" y="15"/>
                    <a:pt x="29" y="16"/>
                    <a:pt x="29" y="16"/>
                  </a:cubicBezTo>
                  <a:cubicBezTo>
                    <a:pt x="29" y="16"/>
                    <a:pt x="30" y="17"/>
                    <a:pt x="31" y="17"/>
                  </a:cubicBezTo>
                  <a:cubicBezTo>
                    <a:pt x="31" y="17"/>
                    <a:pt x="32" y="16"/>
                    <a:pt x="32" y="15"/>
                  </a:cubicBezTo>
                  <a:cubicBezTo>
                    <a:pt x="32" y="10"/>
                    <a:pt x="32" y="10"/>
                    <a:pt x="32" y="10"/>
                  </a:cubicBezTo>
                  <a:cubicBezTo>
                    <a:pt x="32" y="9"/>
                    <a:pt x="31" y="9"/>
                    <a:pt x="30" y="9"/>
                  </a:cubicBezTo>
                  <a:cubicBezTo>
                    <a:pt x="24" y="9"/>
                    <a:pt x="24" y="9"/>
                    <a:pt x="24" y="9"/>
                  </a:cubicBezTo>
                  <a:cubicBezTo>
                    <a:pt x="23" y="9"/>
                    <a:pt x="22" y="8"/>
                    <a:pt x="22" y="8"/>
                  </a:cubicBezTo>
                  <a:cubicBezTo>
                    <a:pt x="22" y="8"/>
                    <a:pt x="23" y="6"/>
                    <a:pt x="23" y="6"/>
                  </a:cubicBezTo>
                  <a:cubicBezTo>
                    <a:pt x="23" y="6"/>
                    <a:pt x="24" y="5"/>
                    <a:pt x="24" y="4"/>
                  </a:cubicBezTo>
                  <a:cubicBezTo>
                    <a:pt x="24" y="1"/>
                    <a:pt x="22" y="0"/>
                    <a:pt x="20" y="0"/>
                  </a:cubicBezTo>
                  <a:cubicBezTo>
                    <a:pt x="20" y="0"/>
                    <a:pt x="20" y="0"/>
                    <a:pt x="20" y="0"/>
                  </a:cubicBezTo>
                  <a:cubicBezTo>
                    <a:pt x="18" y="0"/>
                    <a:pt x="17" y="2"/>
                    <a:pt x="17" y="4"/>
                  </a:cubicBezTo>
                  <a:cubicBezTo>
                    <a:pt x="17" y="5"/>
                    <a:pt x="17" y="6"/>
                    <a:pt x="17" y="6"/>
                  </a:cubicBezTo>
                  <a:cubicBezTo>
                    <a:pt x="18" y="6"/>
                    <a:pt x="18" y="7"/>
                    <a:pt x="19" y="7"/>
                  </a:cubicBezTo>
                  <a:cubicBezTo>
                    <a:pt x="19" y="8"/>
                    <a:pt x="18" y="9"/>
                    <a:pt x="17" y="9"/>
                  </a:cubicBezTo>
                  <a:cubicBezTo>
                    <a:pt x="10" y="9"/>
                    <a:pt x="10" y="9"/>
                    <a:pt x="10" y="9"/>
                  </a:cubicBezTo>
                  <a:cubicBezTo>
                    <a:pt x="9" y="9"/>
                    <a:pt x="9" y="9"/>
                    <a:pt x="9" y="10"/>
                  </a:cubicBezTo>
                  <a:cubicBezTo>
                    <a:pt x="9" y="16"/>
                    <a:pt x="9" y="16"/>
                    <a:pt x="9" y="16"/>
                  </a:cubicBezTo>
                  <a:cubicBezTo>
                    <a:pt x="9" y="16"/>
                    <a:pt x="8" y="17"/>
                    <a:pt x="8" y="17"/>
                  </a:cubicBezTo>
                  <a:cubicBezTo>
                    <a:pt x="8" y="17"/>
                    <a:pt x="7" y="16"/>
                    <a:pt x="6" y="16"/>
                  </a:cubicBezTo>
                  <a:cubicBezTo>
                    <a:pt x="6" y="16"/>
                    <a:pt x="5" y="15"/>
                    <a:pt x="4" y="15"/>
                  </a:cubicBezTo>
                  <a:cubicBezTo>
                    <a:pt x="2" y="15"/>
                    <a:pt x="0" y="17"/>
                    <a:pt x="0" y="19"/>
                  </a:cubicBezTo>
                  <a:cubicBezTo>
                    <a:pt x="0" y="21"/>
                    <a:pt x="2" y="22"/>
                    <a:pt x="4" y="22"/>
                  </a:cubicBezTo>
                  <a:cubicBezTo>
                    <a:pt x="5" y="22"/>
                    <a:pt x="6" y="22"/>
                    <a:pt x="6" y="22"/>
                  </a:cubicBezTo>
                  <a:cubicBezTo>
                    <a:pt x="7" y="21"/>
                    <a:pt x="7" y="21"/>
                    <a:pt x="8" y="20"/>
                  </a:cubicBezTo>
                  <a:cubicBezTo>
                    <a:pt x="8" y="20"/>
                    <a:pt x="9" y="21"/>
                    <a:pt x="9" y="22"/>
                  </a:cubicBezTo>
                  <a:cubicBezTo>
                    <a:pt x="9" y="31"/>
                    <a:pt x="9" y="31"/>
                    <a:pt x="9" y="31"/>
                  </a:cubicBezTo>
                  <a:cubicBezTo>
                    <a:pt x="9" y="31"/>
                    <a:pt x="9" y="32"/>
                    <a:pt x="10" y="32"/>
                  </a:cubicBezTo>
                  <a:cubicBezTo>
                    <a:pt x="17" y="32"/>
                    <a:pt x="17" y="32"/>
                    <a:pt x="17" y="32"/>
                  </a:cubicBezTo>
                  <a:cubicBezTo>
                    <a:pt x="18" y="32"/>
                    <a:pt x="18" y="32"/>
                    <a:pt x="19" y="31"/>
                  </a:cubicBezTo>
                  <a:cubicBezTo>
                    <a:pt x="19" y="31"/>
                    <a:pt x="18" y="30"/>
                    <a:pt x="17" y="29"/>
                  </a:cubicBezTo>
                  <a:cubicBezTo>
                    <a:pt x="17" y="29"/>
                    <a:pt x="17" y="28"/>
                    <a:pt x="17" y="27"/>
                  </a:cubicBezTo>
                  <a:cubicBezTo>
                    <a:pt x="17" y="25"/>
                    <a:pt x="18" y="23"/>
                    <a:pt x="20" y="23"/>
                  </a:cubicBezTo>
                  <a:cubicBezTo>
                    <a:pt x="20" y="23"/>
                    <a:pt x="20" y="23"/>
                    <a:pt x="20" y="23"/>
                  </a:cubicBezTo>
                  <a:cubicBezTo>
                    <a:pt x="22" y="23"/>
                    <a:pt x="24" y="25"/>
                    <a:pt x="24" y="27"/>
                  </a:cubicBezTo>
                  <a:cubicBezTo>
                    <a:pt x="24" y="28"/>
                    <a:pt x="23" y="29"/>
                    <a:pt x="23" y="29"/>
                  </a:cubicBezTo>
                  <a:cubicBezTo>
                    <a:pt x="23" y="30"/>
                    <a:pt x="22" y="30"/>
                    <a:pt x="22" y="31"/>
                  </a:cubicBezTo>
                  <a:cubicBezTo>
                    <a:pt x="22" y="31"/>
                    <a:pt x="23" y="32"/>
                    <a:pt x="24" y="32"/>
                  </a:cubicBezTo>
                  <a:cubicBezTo>
                    <a:pt x="30" y="32"/>
                    <a:pt x="30" y="32"/>
                    <a:pt x="30" y="32"/>
                  </a:cubicBezTo>
                  <a:cubicBezTo>
                    <a:pt x="31" y="32"/>
                    <a:pt x="32" y="31"/>
                    <a:pt x="32" y="31"/>
                  </a:cubicBezTo>
                  <a:cubicBezTo>
                    <a:pt x="32" y="22"/>
                    <a:pt x="32" y="22"/>
                    <a:pt x="32" y="22"/>
                  </a:cubicBezTo>
                  <a:cubicBezTo>
                    <a:pt x="32" y="21"/>
                    <a:pt x="32" y="21"/>
                    <a:pt x="31" y="20"/>
                  </a:cubicBezTo>
                  <a:cubicBezTo>
                    <a:pt x="31" y="20"/>
                    <a:pt x="29" y="21"/>
                    <a:pt x="29" y="22"/>
                  </a:cubicBezTo>
                  <a:cubicBezTo>
                    <a:pt x="29" y="22"/>
                    <a:pt x="28" y="22"/>
                    <a:pt x="27" y="22"/>
                  </a:cubicBezTo>
                  <a:cubicBezTo>
                    <a:pt x="25" y="22"/>
                    <a:pt x="23" y="21"/>
                    <a:pt x="23" y="19"/>
                  </a:cubicBezTo>
                  <a:cubicBezTo>
                    <a:pt x="23" y="17"/>
                    <a:pt x="25" y="15"/>
                    <a:pt x="27" y="15"/>
                  </a:cubicBezTo>
                  <a:close/>
                </a:path>
              </a:pathLst>
            </a:custGeom>
            <a:solidFill>
              <a:srgbClr val="A042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28" name="Freeform 91">
              <a:extLst>
                <a:ext uri="{FF2B5EF4-FFF2-40B4-BE49-F238E27FC236}">
                  <a16:creationId xmlns:a16="http://schemas.microsoft.com/office/drawing/2014/main" id="{14E70B4C-0B87-44B2-82AC-C1DBFC168820}"/>
                </a:ext>
              </a:extLst>
            </p:cNvPr>
            <p:cNvSpPr>
              <a:spLocks/>
            </p:cNvSpPr>
            <p:nvPr/>
          </p:nvSpPr>
          <p:spPr bwMode="auto">
            <a:xfrm>
              <a:off x="3361563" y="667320"/>
              <a:ext cx="221572" cy="224525"/>
            </a:xfrm>
            <a:custGeom>
              <a:avLst/>
              <a:gdLst>
                <a:gd name="T0" fmla="*/ 26 w 32"/>
                <a:gd name="T1" fmla="*/ 15 h 32"/>
                <a:gd name="T2" fmla="*/ 28 w 32"/>
                <a:gd name="T3" fmla="*/ 16 h 32"/>
                <a:gd name="T4" fmla="*/ 30 w 32"/>
                <a:gd name="T5" fmla="*/ 17 h 32"/>
                <a:gd name="T6" fmla="*/ 32 w 32"/>
                <a:gd name="T7" fmla="*/ 15 h 32"/>
                <a:gd name="T8" fmla="*/ 32 w 32"/>
                <a:gd name="T9" fmla="*/ 10 h 32"/>
                <a:gd name="T10" fmla="*/ 30 w 32"/>
                <a:gd name="T11" fmla="*/ 9 h 32"/>
                <a:gd name="T12" fmla="*/ 23 w 32"/>
                <a:gd name="T13" fmla="*/ 9 h 32"/>
                <a:gd name="T14" fmla="*/ 22 w 32"/>
                <a:gd name="T15" fmla="*/ 8 h 32"/>
                <a:gd name="T16" fmla="*/ 23 w 32"/>
                <a:gd name="T17" fmla="*/ 6 h 32"/>
                <a:gd name="T18" fmla="*/ 24 w 32"/>
                <a:gd name="T19" fmla="*/ 4 h 32"/>
                <a:gd name="T20" fmla="*/ 20 w 32"/>
                <a:gd name="T21" fmla="*/ 0 h 32"/>
                <a:gd name="T22" fmla="*/ 20 w 32"/>
                <a:gd name="T23" fmla="*/ 0 h 32"/>
                <a:gd name="T24" fmla="*/ 16 w 32"/>
                <a:gd name="T25" fmla="*/ 4 h 32"/>
                <a:gd name="T26" fmla="*/ 17 w 32"/>
                <a:gd name="T27" fmla="*/ 6 h 32"/>
                <a:gd name="T28" fmla="*/ 18 w 32"/>
                <a:gd name="T29" fmla="*/ 7 h 32"/>
                <a:gd name="T30" fmla="*/ 17 w 32"/>
                <a:gd name="T31" fmla="*/ 9 h 32"/>
                <a:gd name="T32" fmla="*/ 10 w 32"/>
                <a:gd name="T33" fmla="*/ 9 h 32"/>
                <a:gd name="T34" fmla="*/ 8 w 32"/>
                <a:gd name="T35" fmla="*/ 10 h 32"/>
                <a:gd name="T36" fmla="*/ 8 w 32"/>
                <a:gd name="T37" fmla="*/ 16 h 32"/>
                <a:gd name="T38" fmla="*/ 8 w 32"/>
                <a:gd name="T39" fmla="*/ 17 h 32"/>
                <a:gd name="T40" fmla="*/ 6 w 32"/>
                <a:gd name="T41" fmla="*/ 16 h 32"/>
                <a:gd name="T42" fmla="*/ 3 w 32"/>
                <a:gd name="T43" fmla="*/ 15 h 32"/>
                <a:gd name="T44" fmla="*/ 0 w 32"/>
                <a:gd name="T45" fmla="*/ 19 h 32"/>
                <a:gd name="T46" fmla="*/ 3 w 32"/>
                <a:gd name="T47" fmla="*/ 22 h 32"/>
                <a:gd name="T48" fmla="*/ 6 w 32"/>
                <a:gd name="T49" fmla="*/ 22 h 32"/>
                <a:gd name="T50" fmla="*/ 7 w 32"/>
                <a:gd name="T51" fmla="*/ 20 h 32"/>
                <a:gd name="T52" fmla="*/ 8 w 32"/>
                <a:gd name="T53" fmla="*/ 22 h 32"/>
                <a:gd name="T54" fmla="*/ 8 w 32"/>
                <a:gd name="T55" fmla="*/ 31 h 32"/>
                <a:gd name="T56" fmla="*/ 10 w 32"/>
                <a:gd name="T57" fmla="*/ 32 h 32"/>
                <a:gd name="T58" fmla="*/ 17 w 32"/>
                <a:gd name="T59" fmla="*/ 32 h 32"/>
                <a:gd name="T60" fmla="*/ 18 w 32"/>
                <a:gd name="T61" fmla="*/ 31 h 32"/>
                <a:gd name="T62" fmla="*/ 17 w 32"/>
                <a:gd name="T63" fmla="*/ 29 h 32"/>
                <a:gd name="T64" fmla="*/ 16 w 32"/>
                <a:gd name="T65" fmla="*/ 27 h 32"/>
                <a:gd name="T66" fmla="*/ 20 w 32"/>
                <a:gd name="T67" fmla="*/ 23 h 32"/>
                <a:gd name="T68" fmla="*/ 20 w 32"/>
                <a:gd name="T69" fmla="*/ 23 h 32"/>
                <a:gd name="T70" fmla="*/ 24 w 32"/>
                <a:gd name="T71" fmla="*/ 27 h 32"/>
                <a:gd name="T72" fmla="*/ 23 w 32"/>
                <a:gd name="T73" fmla="*/ 29 h 32"/>
                <a:gd name="T74" fmla="*/ 22 w 32"/>
                <a:gd name="T75" fmla="*/ 31 h 32"/>
                <a:gd name="T76" fmla="*/ 23 w 32"/>
                <a:gd name="T77" fmla="*/ 32 h 32"/>
                <a:gd name="T78" fmla="*/ 30 w 32"/>
                <a:gd name="T79" fmla="*/ 32 h 32"/>
                <a:gd name="T80" fmla="*/ 32 w 32"/>
                <a:gd name="T81" fmla="*/ 31 h 32"/>
                <a:gd name="T82" fmla="*/ 32 w 32"/>
                <a:gd name="T83" fmla="*/ 22 h 32"/>
                <a:gd name="T84" fmla="*/ 31 w 32"/>
                <a:gd name="T85" fmla="*/ 20 h 32"/>
                <a:gd name="T86" fmla="*/ 28 w 32"/>
                <a:gd name="T87" fmla="*/ 22 h 32"/>
                <a:gd name="T88" fmla="*/ 26 w 32"/>
                <a:gd name="T89" fmla="*/ 22 h 32"/>
                <a:gd name="T90" fmla="*/ 23 w 32"/>
                <a:gd name="T91" fmla="*/ 19 h 32"/>
                <a:gd name="T92" fmla="*/ 26 w 32"/>
                <a:gd name="T9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32">
                  <a:moveTo>
                    <a:pt x="26" y="15"/>
                  </a:moveTo>
                  <a:cubicBezTo>
                    <a:pt x="28" y="15"/>
                    <a:pt x="28" y="16"/>
                    <a:pt x="28" y="16"/>
                  </a:cubicBezTo>
                  <a:cubicBezTo>
                    <a:pt x="29" y="16"/>
                    <a:pt x="30" y="17"/>
                    <a:pt x="30" y="17"/>
                  </a:cubicBezTo>
                  <a:cubicBezTo>
                    <a:pt x="31" y="17"/>
                    <a:pt x="32" y="16"/>
                    <a:pt x="32" y="15"/>
                  </a:cubicBezTo>
                  <a:cubicBezTo>
                    <a:pt x="32" y="10"/>
                    <a:pt x="32" y="10"/>
                    <a:pt x="32" y="10"/>
                  </a:cubicBezTo>
                  <a:cubicBezTo>
                    <a:pt x="32" y="9"/>
                    <a:pt x="31" y="9"/>
                    <a:pt x="30" y="9"/>
                  </a:cubicBezTo>
                  <a:cubicBezTo>
                    <a:pt x="23" y="9"/>
                    <a:pt x="23" y="9"/>
                    <a:pt x="23" y="9"/>
                  </a:cubicBezTo>
                  <a:cubicBezTo>
                    <a:pt x="23" y="9"/>
                    <a:pt x="22" y="8"/>
                    <a:pt x="22" y="8"/>
                  </a:cubicBezTo>
                  <a:cubicBezTo>
                    <a:pt x="21" y="8"/>
                    <a:pt x="22" y="6"/>
                    <a:pt x="23" y="6"/>
                  </a:cubicBezTo>
                  <a:cubicBezTo>
                    <a:pt x="23" y="6"/>
                    <a:pt x="24" y="5"/>
                    <a:pt x="24" y="4"/>
                  </a:cubicBezTo>
                  <a:cubicBezTo>
                    <a:pt x="24" y="1"/>
                    <a:pt x="22" y="0"/>
                    <a:pt x="20" y="0"/>
                  </a:cubicBezTo>
                  <a:cubicBezTo>
                    <a:pt x="20" y="0"/>
                    <a:pt x="20" y="0"/>
                    <a:pt x="20" y="0"/>
                  </a:cubicBezTo>
                  <a:cubicBezTo>
                    <a:pt x="18" y="0"/>
                    <a:pt x="16" y="1"/>
                    <a:pt x="16" y="4"/>
                  </a:cubicBezTo>
                  <a:cubicBezTo>
                    <a:pt x="16" y="5"/>
                    <a:pt x="17" y="6"/>
                    <a:pt x="17" y="6"/>
                  </a:cubicBezTo>
                  <a:cubicBezTo>
                    <a:pt x="18" y="6"/>
                    <a:pt x="18" y="7"/>
                    <a:pt x="18" y="7"/>
                  </a:cubicBezTo>
                  <a:cubicBezTo>
                    <a:pt x="18" y="8"/>
                    <a:pt x="17" y="9"/>
                    <a:pt x="17" y="9"/>
                  </a:cubicBezTo>
                  <a:cubicBezTo>
                    <a:pt x="10" y="9"/>
                    <a:pt x="10" y="9"/>
                    <a:pt x="10" y="9"/>
                  </a:cubicBezTo>
                  <a:cubicBezTo>
                    <a:pt x="9" y="9"/>
                    <a:pt x="8" y="9"/>
                    <a:pt x="8" y="10"/>
                  </a:cubicBezTo>
                  <a:cubicBezTo>
                    <a:pt x="8" y="16"/>
                    <a:pt x="8" y="16"/>
                    <a:pt x="8" y="16"/>
                  </a:cubicBezTo>
                  <a:cubicBezTo>
                    <a:pt x="8" y="16"/>
                    <a:pt x="8" y="17"/>
                    <a:pt x="8" y="17"/>
                  </a:cubicBezTo>
                  <a:cubicBezTo>
                    <a:pt x="7" y="17"/>
                    <a:pt x="6" y="16"/>
                    <a:pt x="6" y="16"/>
                  </a:cubicBezTo>
                  <a:cubicBezTo>
                    <a:pt x="6" y="16"/>
                    <a:pt x="5" y="15"/>
                    <a:pt x="3" y="15"/>
                  </a:cubicBezTo>
                  <a:cubicBezTo>
                    <a:pt x="1" y="15"/>
                    <a:pt x="0" y="17"/>
                    <a:pt x="0" y="19"/>
                  </a:cubicBezTo>
                  <a:cubicBezTo>
                    <a:pt x="0" y="21"/>
                    <a:pt x="1" y="22"/>
                    <a:pt x="3" y="22"/>
                  </a:cubicBezTo>
                  <a:cubicBezTo>
                    <a:pt x="5" y="22"/>
                    <a:pt x="6" y="22"/>
                    <a:pt x="6" y="22"/>
                  </a:cubicBezTo>
                  <a:cubicBezTo>
                    <a:pt x="6" y="21"/>
                    <a:pt x="7" y="21"/>
                    <a:pt x="7" y="20"/>
                  </a:cubicBezTo>
                  <a:cubicBezTo>
                    <a:pt x="7" y="20"/>
                    <a:pt x="8" y="21"/>
                    <a:pt x="8" y="22"/>
                  </a:cubicBezTo>
                  <a:cubicBezTo>
                    <a:pt x="8" y="31"/>
                    <a:pt x="8" y="31"/>
                    <a:pt x="8" y="31"/>
                  </a:cubicBezTo>
                  <a:cubicBezTo>
                    <a:pt x="8" y="31"/>
                    <a:pt x="9" y="32"/>
                    <a:pt x="10" y="32"/>
                  </a:cubicBezTo>
                  <a:cubicBezTo>
                    <a:pt x="17" y="32"/>
                    <a:pt x="17" y="32"/>
                    <a:pt x="17" y="32"/>
                  </a:cubicBezTo>
                  <a:cubicBezTo>
                    <a:pt x="17" y="32"/>
                    <a:pt x="18" y="32"/>
                    <a:pt x="18" y="31"/>
                  </a:cubicBezTo>
                  <a:cubicBezTo>
                    <a:pt x="18" y="31"/>
                    <a:pt x="18" y="30"/>
                    <a:pt x="17" y="29"/>
                  </a:cubicBezTo>
                  <a:cubicBezTo>
                    <a:pt x="17" y="29"/>
                    <a:pt x="16" y="28"/>
                    <a:pt x="16" y="27"/>
                  </a:cubicBezTo>
                  <a:cubicBezTo>
                    <a:pt x="16" y="25"/>
                    <a:pt x="18" y="23"/>
                    <a:pt x="20" y="23"/>
                  </a:cubicBezTo>
                  <a:cubicBezTo>
                    <a:pt x="20" y="23"/>
                    <a:pt x="20" y="23"/>
                    <a:pt x="20" y="23"/>
                  </a:cubicBezTo>
                  <a:cubicBezTo>
                    <a:pt x="22" y="23"/>
                    <a:pt x="24" y="25"/>
                    <a:pt x="24" y="27"/>
                  </a:cubicBezTo>
                  <a:cubicBezTo>
                    <a:pt x="24" y="28"/>
                    <a:pt x="23" y="29"/>
                    <a:pt x="23" y="29"/>
                  </a:cubicBezTo>
                  <a:cubicBezTo>
                    <a:pt x="22" y="30"/>
                    <a:pt x="22" y="30"/>
                    <a:pt x="22" y="31"/>
                  </a:cubicBezTo>
                  <a:cubicBezTo>
                    <a:pt x="21" y="31"/>
                    <a:pt x="23" y="32"/>
                    <a:pt x="23" y="32"/>
                  </a:cubicBezTo>
                  <a:cubicBezTo>
                    <a:pt x="30" y="32"/>
                    <a:pt x="30" y="32"/>
                    <a:pt x="30" y="32"/>
                  </a:cubicBezTo>
                  <a:cubicBezTo>
                    <a:pt x="31" y="32"/>
                    <a:pt x="32" y="31"/>
                    <a:pt x="32" y="31"/>
                  </a:cubicBezTo>
                  <a:cubicBezTo>
                    <a:pt x="32" y="22"/>
                    <a:pt x="32" y="22"/>
                    <a:pt x="32" y="22"/>
                  </a:cubicBezTo>
                  <a:cubicBezTo>
                    <a:pt x="32" y="21"/>
                    <a:pt x="31" y="21"/>
                    <a:pt x="31" y="20"/>
                  </a:cubicBezTo>
                  <a:cubicBezTo>
                    <a:pt x="30" y="20"/>
                    <a:pt x="29" y="21"/>
                    <a:pt x="28" y="22"/>
                  </a:cubicBezTo>
                  <a:cubicBezTo>
                    <a:pt x="28" y="22"/>
                    <a:pt x="28" y="22"/>
                    <a:pt x="26" y="22"/>
                  </a:cubicBezTo>
                  <a:cubicBezTo>
                    <a:pt x="24" y="22"/>
                    <a:pt x="23" y="21"/>
                    <a:pt x="23" y="19"/>
                  </a:cubicBezTo>
                  <a:cubicBezTo>
                    <a:pt x="23" y="17"/>
                    <a:pt x="24" y="15"/>
                    <a:pt x="26" y="15"/>
                  </a:cubicBez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grpSp>
    </p:spTree>
    <p:extLst>
      <p:ext uri="{BB962C8B-B14F-4D97-AF65-F5344CB8AC3E}">
        <p14:creationId xmlns:p14="http://schemas.microsoft.com/office/powerpoint/2010/main" val="11766810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46" name="Prostokąt 45">
            <a:extLst>
              <a:ext uri="{FF2B5EF4-FFF2-40B4-BE49-F238E27FC236}">
                <a16:creationId xmlns:a16="http://schemas.microsoft.com/office/drawing/2014/main" id="{99740C7F-4585-40ED-B66E-5AE59B878F2A}"/>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7" name="Prostokąt 46">
            <a:extLst>
              <a:ext uri="{FF2B5EF4-FFF2-40B4-BE49-F238E27FC236}">
                <a16:creationId xmlns:a16="http://schemas.microsoft.com/office/drawing/2014/main" id="{28BC289F-A499-4BF9-889B-04733D50152B}"/>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8" name="Prostokąt 47">
            <a:extLst>
              <a:ext uri="{FF2B5EF4-FFF2-40B4-BE49-F238E27FC236}">
                <a16:creationId xmlns:a16="http://schemas.microsoft.com/office/drawing/2014/main" id="{EBE431DA-52FE-47D2-A6DF-72E4F158DE1A}"/>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9" name="Obraz 48">
            <a:extLst>
              <a:ext uri="{FF2B5EF4-FFF2-40B4-BE49-F238E27FC236}">
                <a16:creationId xmlns:a16="http://schemas.microsoft.com/office/drawing/2014/main" id="{6BC685FF-BD9B-4ED5-B0AF-3D98D64A55A5}"/>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50" name="Obraz 49">
            <a:extLst>
              <a:ext uri="{FF2B5EF4-FFF2-40B4-BE49-F238E27FC236}">
                <a16:creationId xmlns:a16="http://schemas.microsoft.com/office/drawing/2014/main" id="{A2CBFE88-D626-4FDA-ADB4-E79C8BD34FCE}"/>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51" name="Obraz 50">
            <a:extLst>
              <a:ext uri="{FF2B5EF4-FFF2-40B4-BE49-F238E27FC236}">
                <a16:creationId xmlns:a16="http://schemas.microsoft.com/office/drawing/2014/main" id="{859470F5-0DF7-4F6B-98E1-E301E2752946}"/>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52" name="Łącznik prosty ze strzałką 51">
            <a:extLst>
              <a:ext uri="{FF2B5EF4-FFF2-40B4-BE49-F238E27FC236}">
                <a16:creationId xmlns:a16="http://schemas.microsoft.com/office/drawing/2014/main" id="{22B324E6-9D98-494E-B876-10CBA4D150C5}"/>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3" name="Łącznik prosty ze strzałką 52">
            <a:extLst>
              <a:ext uri="{FF2B5EF4-FFF2-40B4-BE49-F238E27FC236}">
                <a16:creationId xmlns:a16="http://schemas.microsoft.com/office/drawing/2014/main" id="{2A9AFADA-F9E8-41FE-9548-8B07450186FB}"/>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4" name="Łącznik prosty ze strzałką 53">
            <a:extLst>
              <a:ext uri="{FF2B5EF4-FFF2-40B4-BE49-F238E27FC236}">
                <a16:creationId xmlns:a16="http://schemas.microsoft.com/office/drawing/2014/main" id="{FAB15F1E-8D8F-45CB-B069-62F50009FB40}"/>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5" name="Łącznik prosty ze strzałką 54">
            <a:extLst>
              <a:ext uri="{FF2B5EF4-FFF2-40B4-BE49-F238E27FC236}">
                <a16:creationId xmlns:a16="http://schemas.microsoft.com/office/drawing/2014/main" id="{18B957FE-8EA2-473E-B55C-67E7D3B642A2}"/>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14" name="Dowolny kształt: kształt 13">
            <a:extLst>
              <a:ext uri="{FF2B5EF4-FFF2-40B4-BE49-F238E27FC236}">
                <a16:creationId xmlns:a16="http://schemas.microsoft.com/office/drawing/2014/main" id="{3D55C4D3-B297-4C58-8049-FF1AC16A453B}"/>
              </a:ext>
            </a:extLst>
          </p:cNvPr>
          <p:cNvSpPr/>
          <p:nvPr/>
        </p:nvSpPr>
        <p:spPr>
          <a:xfrm>
            <a:off x="189836" y="312836"/>
            <a:ext cx="7931067" cy="6486400"/>
          </a:xfrm>
          <a:custGeom>
            <a:avLst/>
            <a:gdLst>
              <a:gd name="connsiteX0" fmla="*/ 1753 w 7931067"/>
              <a:gd name="connsiteY0" fmla="*/ 1812055 h 6486400"/>
              <a:gd name="connsiteX1" fmla="*/ 228175 w 7931067"/>
              <a:gd name="connsiteY1" fmla="*/ 767027 h 6486400"/>
              <a:gd name="connsiteX2" fmla="*/ 890027 w 7931067"/>
              <a:gd name="connsiteY2" fmla="*/ 122593 h 6486400"/>
              <a:gd name="connsiteX3" fmla="*/ 2744953 w 7931067"/>
              <a:gd name="connsiteY3" fmla="*/ 35507 h 6486400"/>
              <a:gd name="connsiteX4" fmla="*/ 4190575 w 7931067"/>
              <a:gd name="connsiteY4" fmla="*/ 540604 h 6486400"/>
              <a:gd name="connsiteX5" fmla="*/ 5157227 w 7931067"/>
              <a:gd name="connsiteY5" fmla="*/ 1829473 h 6486400"/>
              <a:gd name="connsiteX6" fmla="*/ 5270438 w 7931067"/>
              <a:gd name="connsiteY6" fmla="*/ 3736650 h 6486400"/>
              <a:gd name="connsiteX7" fmla="*/ 6315467 w 7931067"/>
              <a:gd name="connsiteY7" fmla="*/ 3710524 h 6486400"/>
              <a:gd name="connsiteX8" fmla="*/ 6689935 w 7931067"/>
              <a:gd name="connsiteY8" fmla="*/ 3562478 h 6486400"/>
              <a:gd name="connsiteX9" fmla="*/ 7160198 w 7931067"/>
              <a:gd name="connsiteY9" fmla="*/ 3571187 h 6486400"/>
              <a:gd name="connsiteX10" fmla="*/ 7464998 w 7931067"/>
              <a:gd name="connsiteY10" fmla="*/ 3963073 h 6486400"/>
              <a:gd name="connsiteX11" fmla="*/ 7883010 w 7931067"/>
              <a:gd name="connsiteY11" fmla="*/ 4912307 h 6486400"/>
              <a:gd name="connsiteX12" fmla="*/ 7795924 w 7931067"/>
              <a:gd name="connsiteY12" fmla="*/ 5887667 h 6486400"/>
              <a:gd name="connsiteX13" fmla="*/ 6759604 w 7931067"/>
              <a:gd name="connsiteY13" fmla="*/ 6410181 h 6486400"/>
              <a:gd name="connsiteX14" fmla="*/ 4774050 w 7931067"/>
              <a:gd name="connsiteY14" fmla="*/ 6453724 h 6486400"/>
              <a:gd name="connsiteX15" fmla="*/ 3598393 w 7931067"/>
              <a:gd name="connsiteY15" fmla="*/ 6122798 h 6486400"/>
              <a:gd name="connsiteX16" fmla="*/ 2988793 w 7931067"/>
              <a:gd name="connsiteY16" fmla="*/ 5521907 h 6486400"/>
              <a:gd name="connsiteX17" fmla="*/ 2892998 w 7931067"/>
              <a:gd name="connsiteY17" fmla="*/ 4990684 h 6486400"/>
              <a:gd name="connsiteX18" fmla="*/ 2614324 w 7931067"/>
              <a:gd name="connsiteY18" fmla="*/ 4224330 h 6486400"/>
              <a:gd name="connsiteX19" fmla="*/ 1978598 w 7931067"/>
              <a:gd name="connsiteY19" fmla="*/ 3754067 h 6486400"/>
              <a:gd name="connsiteX20" fmla="*/ 620061 w 7931067"/>
              <a:gd name="connsiteY20" fmla="*/ 2700330 h 6486400"/>
              <a:gd name="connsiteX21" fmla="*/ 149798 w 7931067"/>
              <a:gd name="connsiteY21" fmla="*/ 2125564 h 6486400"/>
              <a:gd name="connsiteX22" fmla="*/ 1753 w 7931067"/>
              <a:gd name="connsiteY22" fmla="*/ 1812055 h 6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31067" h="6486400">
                <a:moveTo>
                  <a:pt x="1753" y="1812055"/>
                </a:moveTo>
                <a:cubicBezTo>
                  <a:pt x="14816" y="1585632"/>
                  <a:pt x="80129" y="1048604"/>
                  <a:pt x="228175" y="767027"/>
                </a:cubicBezTo>
                <a:cubicBezTo>
                  <a:pt x="376221" y="485450"/>
                  <a:pt x="470564" y="244513"/>
                  <a:pt x="890027" y="122593"/>
                </a:cubicBezTo>
                <a:cubicBezTo>
                  <a:pt x="1309490" y="673"/>
                  <a:pt x="2194862" y="-34161"/>
                  <a:pt x="2744953" y="35507"/>
                </a:cubicBezTo>
                <a:cubicBezTo>
                  <a:pt x="3295044" y="105175"/>
                  <a:pt x="3788529" y="241610"/>
                  <a:pt x="4190575" y="540604"/>
                </a:cubicBezTo>
                <a:cubicBezTo>
                  <a:pt x="4592621" y="839598"/>
                  <a:pt x="4977250" y="1296799"/>
                  <a:pt x="5157227" y="1829473"/>
                </a:cubicBezTo>
                <a:cubicBezTo>
                  <a:pt x="5337204" y="2362147"/>
                  <a:pt x="5077398" y="3423142"/>
                  <a:pt x="5270438" y="3736650"/>
                </a:cubicBezTo>
                <a:cubicBezTo>
                  <a:pt x="5463478" y="4050158"/>
                  <a:pt x="6078884" y="3739553"/>
                  <a:pt x="6315467" y="3710524"/>
                </a:cubicBezTo>
                <a:cubicBezTo>
                  <a:pt x="6552050" y="3681495"/>
                  <a:pt x="6549147" y="3585701"/>
                  <a:pt x="6689935" y="3562478"/>
                </a:cubicBezTo>
                <a:cubicBezTo>
                  <a:pt x="6830723" y="3539255"/>
                  <a:pt x="7031021" y="3504421"/>
                  <a:pt x="7160198" y="3571187"/>
                </a:cubicBezTo>
                <a:cubicBezTo>
                  <a:pt x="7289375" y="3637953"/>
                  <a:pt x="7344529" y="3739553"/>
                  <a:pt x="7464998" y="3963073"/>
                </a:cubicBezTo>
                <a:cubicBezTo>
                  <a:pt x="7585467" y="4186593"/>
                  <a:pt x="7827856" y="4591541"/>
                  <a:pt x="7883010" y="4912307"/>
                </a:cubicBezTo>
                <a:cubicBezTo>
                  <a:pt x="7938164" y="5233073"/>
                  <a:pt x="7983158" y="5638021"/>
                  <a:pt x="7795924" y="5887667"/>
                </a:cubicBezTo>
                <a:cubicBezTo>
                  <a:pt x="7608690" y="6137313"/>
                  <a:pt x="7263250" y="6315838"/>
                  <a:pt x="6759604" y="6410181"/>
                </a:cubicBezTo>
                <a:cubicBezTo>
                  <a:pt x="6255958" y="6504524"/>
                  <a:pt x="5300918" y="6501621"/>
                  <a:pt x="4774050" y="6453724"/>
                </a:cubicBezTo>
                <a:cubicBezTo>
                  <a:pt x="4247182" y="6405827"/>
                  <a:pt x="3895936" y="6278101"/>
                  <a:pt x="3598393" y="6122798"/>
                </a:cubicBezTo>
                <a:cubicBezTo>
                  <a:pt x="3300850" y="5967495"/>
                  <a:pt x="3106359" y="5710593"/>
                  <a:pt x="2988793" y="5521907"/>
                </a:cubicBezTo>
                <a:cubicBezTo>
                  <a:pt x="2871227" y="5333221"/>
                  <a:pt x="2955410" y="5206947"/>
                  <a:pt x="2892998" y="4990684"/>
                </a:cubicBezTo>
                <a:cubicBezTo>
                  <a:pt x="2830587" y="4774421"/>
                  <a:pt x="2766724" y="4430433"/>
                  <a:pt x="2614324" y="4224330"/>
                </a:cubicBezTo>
                <a:cubicBezTo>
                  <a:pt x="2461924" y="4018227"/>
                  <a:pt x="2310975" y="4008067"/>
                  <a:pt x="1978598" y="3754067"/>
                </a:cubicBezTo>
                <a:cubicBezTo>
                  <a:pt x="1646221" y="3500067"/>
                  <a:pt x="924861" y="2971747"/>
                  <a:pt x="620061" y="2700330"/>
                </a:cubicBezTo>
                <a:cubicBezTo>
                  <a:pt x="315261" y="2428913"/>
                  <a:pt x="249946" y="2270707"/>
                  <a:pt x="149798" y="2125564"/>
                </a:cubicBezTo>
                <a:cubicBezTo>
                  <a:pt x="49650" y="1980421"/>
                  <a:pt x="-11310" y="2038478"/>
                  <a:pt x="1753" y="1812055"/>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8" name="Obraz 57">
            <a:extLst>
              <a:ext uri="{FF2B5EF4-FFF2-40B4-BE49-F238E27FC236}">
                <a16:creationId xmlns:a16="http://schemas.microsoft.com/office/drawing/2014/main" id="{8E4A6941-F8FB-4653-A6AE-EA168B3DCB61}"/>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59" name="Obraz 58">
            <a:extLst>
              <a:ext uri="{FF2B5EF4-FFF2-40B4-BE49-F238E27FC236}">
                <a16:creationId xmlns:a16="http://schemas.microsoft.com/office/drawing/2014/main" id="{928582DF-1502-4F54-B452-50B4FAE2C541}"/>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15" name="Dowolny kształt: kształt 14">
            <a:extLst>
              <a:ext uri="{FF2B5EF4-FFF2-40B4-BE49-F238E27FC236}">
                <a16:creationId xmlns:a16="http://schemas.microsoft.com/office/drawing/2014/main" id="{4E43945B-1D92-43C8-B7AF-26AB048FFAF3}"/>
              </a:ext>
            </a:extLst>
          </p:cNvPr>
          <p:cNvSpPr/>
          <p:nvPr/>
        </p:nvSpPr>
        <p:spPr>
          <a:xfrm>
            <a:off x="5288432" y="58764"/>
            <a:ext cx="6629218" cy="6398971"/>
          </a:xfrm>
          <a:custGeom>
            <a:avLst/>
            <a:gdLst>
              <a:gd name="connsiteX0" fmla="*/ 1280162 w 6629218"/>
              <a:gd name="connsiteY0" fmla="*/ 2874573 h 6398971"/>
              <a:gd name="connsiteX1" fmla="*/ 731522 w 6629218"/>
              <a:gd name="connsiteY1" fmla="*/ 2831030 h 6398971"/>
              <a:gd name="connsiteX2" fmla="*/ 182882 w 6629218"/>
              <a:gd name="connsiteY2" fmla="*/ 2413019 h 6398971"/>
              <a:gd name="connsiteX3" fmla="*/ 34836 w 6629218"/>
              <a:gd name="connsiteY3" fmla="*/ 1542162 h 6398971"/>
              <a:gd name="connsiteX4" fmla="*/ 775065 w 6629218"/>
              <a:gd name="connsiteY4" fmla="*/ 810642 h 6398971"/>
              <a:gd name="connsiteX5" fmla="*/ 2673533 w 6629218"/>
              <a:gd name="connsiteY5" fmla="*/ 140082 h 6398971"/>
              <a:gd name="connsiteX6" fmla="*/ 3770813 w 6629218"/>
              <a:gd name="connsiteY6" fmla="*/ 9453 h 6398971"/>
              <a:gd name="connsiteX7" fmla="*/ 5059682 w 6629218"/>
              <a:gd name="connsiteY7" fmla="*/ 296836 h 6398971"/>
              <a:gd name="connsiteX8" fmla="*/ 6104710 w 6629218"/>
              <a:gd name="connsiteY8" fmla="*/ 949979 h 6398971"/>
              <a:gd name="connsiteX9" fmla="*/ 6487888 w 6629218"/>
              <a:gd name="connsiteY9" fmla="*/ 1690208 h 6398971"/>
              <a:gd name="connsiteX10" fmla="*/ 6461762 w 6629218"/>
              <a:gd name="connsiteY10" fmla="*/ 2691693 h 6398971"/>
              <a:gd name="connsiteX11" fmla="*/ 6235339 w 6629218"/>
              <a:gd name="connsiteY11" fmla="*/ 3797682 h 6398971"/>
              <a:gd name="connsiteX12" fmla="*/ 6383385 w 6629218"/>
              <a:gd name="connsiteY12" fmla="*/ 4694665 h 6398971"/>
              <a:gd name="connsiteX13" fmla="*/ 6627225 w 6629218"/>
              <a:gd name="connsiteY13" fmla="*/ 5434893 h 6398971"/>
              <a:gd name="connsiteX14" fmla="*/ 6479179 w 6629218"/>
              <a:gd name="connsiteY14" fmla="*/ 5983533 h 6398971"/>
              <a:gd name="connsiteX15" fmla="*/ 6139545 w 6629218"/>
              <a:gd name="connsiteY15" fmla="*/ 6375419 h 6398971"/>
              <a:gd name="connsiteX16" fmla="*/ 5050973 w 6629218"/>
              <a:gd name="connsiteY16" fmla="*/ 6209956 h 6398971"/>
              <a:gd name="connsiteX17" fmla="*/ 3796939 w 6629218"/>
              <a:gd name="connsiteY17" fmla="*/ 5034299 h 6398971"/>
              <a:gd name="connsiteX18" fmla="*/ 3126379 w 6629218"/>
              <a:gd name="connsiteY18" fmla="*/ 2639442 h 6398971"/>
              <a:gd name="connsiteX19" fmla="*/ 1619796 w 6629218"/>
              <a:gd name="connsiteY19" fmla="*/ 2752653 h 6398971"/>
              <a:gd name="connsiteX20" fmla="*/ 1280162 w 6629218"/>
              <a:gd name="connsiteY20" fmla="*/ 2874573 h 639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29218" h="6398971">
                <a:moveTo>
                  <a:pt x="1280162" y="2874573"/>
                </a:moveTo>
                <a:cubicBezTo>
                  <a:pt x="1132116" y="2887636"/>
                  <a:pt x="914402" y="2907956"/>
                  <a:pt x="731522" y="2831030"/>
                </a:cubicBezTo>
                <a:cubicBezTo>
                  <a:pt x="548642" y="2754104"/>
                  <a:pt x="298996" y="2627830"/>
                  <a:pt x="182882" y="2413019"/>
                </a:cubicBezTo>
                <a:cubicBezTo>
                  <a:pt x="66768" y="2198208"/>
                  <a:pt x="-63861" y="1809225"/>
                  <a:pt x="34836" y="1542162"/>
                </a:cubicBezTo>
                <a:cubicBezTo>
                  <a:pt x="133533" y="1275099"/>
                  <a:pt x="335282" y="1044322"/>
                  <a:pt x="775065" y="810642"/>
                </a:cubicBezTo>
                <a:cubicBezTo>
                  <a:pt x="1214848" y="576962"/>
                  <a:pt x="2174242" y="273613"/>
                  <a:pt x="2673533" y="140082"/>
                </a:cubicBezTo>
                <a:cubicBezTo>
                  <a:pt x="3172824" y="6551"/>
                  <a:pt x="3373121" y="-16673"/>
                  <a:pt x="3770813" y="9453"/>
                </a:cubicBezTo>
                <a:cubicBezTo>
                  <a:pt x="4168505" y="35579"/>
                  <a:pt x="4670699" y="140082"/>
                  <a:pt x="5059682" y="296836"/>
                </a:cubicBezTo>
                <a:cubicBezTo>
                  <a:pt x="5448665" y="453590"/>
                  <a:pt x="5866676" y="717750"/>
                  <a:pt x="6104710" y="949979"/>
                </a:cubicBezTo>
                <a:cubicBezTo>
                  <a:pt x="6342744" y="1182208"/>
                  <a:pt x="6428379" y="1399922"/>
                  <a:pt x="6487888" y="1690208"/>
                </a:cubicBezTo>
                <a:cubicBezTo>
                  <a:pt x="6547397" y="1980494"/>
                  <a:pt x="6503854" y="2340447"/>
                  <a:pt x="6461762" y="2691693"/>
                </a:cubicBezTo>
                <a:cubicBezTo>
                  <a:pt x="6419671" y="3042939"/>
                  <a:pt x="6248402" y="3463853"/>
                  <a:pt x="6235339" y="3797682"/>
                </a:cubicBezTo>
                <a:cubicBezTo>
                  <a:pt x="6222276" y="4131511"/>
                  <a:pt x="6318071" y="4421797"/>
                  <a:pt x="6383385" y="4694665"/>
                </a:cubicBezTo>
                <a:cubicBezTo>
                  <a:pt x="6448699" y="4967533"/>
                  <a:pt x="6611259" y="5220082"/>
                  <a:pt x="6627225" y="5434893"/>
                </a:cubicBezTo>
                <a:cubicBezTo>
                  <a:pt x="6643191" y="5649704"/>
                  <a:pt x="6560459" y="5826779"/>
                  <a:pt x="6479179" y="5983533"/>
                </a:cubicBezTo>
                <a:cubicBezTo>
                  <a:pt x="6397899" y="6140287"/>
                  <a:pt x="6377579" y="6337682"/>
                  <a:pt x="6139545" y="6375419"/>
                </a:cubicBezTo>
                <a:cubicBezTo>
                  <a:pt x="5901511" y="6413156"/>
                  <a:pt x="5441407" y="6433476"/>
                  <a:pt x="5050973" y="6209956"/>
                </a:cubicBezTo>
                <a:cubicBezTo>
                  <a:pt x="4660539" y="5986436"/>
                  <a:pt x="4117705" y="5629385"/>
                  <a:pt x="3796939" y="5034299"/>
                </a:cubicBezTo>
                <a:cubicBezTo>
                  <a:pt x="3476173" y="4439213"/>
                  <a:pt x="3489236" y="3019716"/>
                  <a:pt x="3126379" y="2639442"/>
                </a:cubicBezTo>
                <a:cubicBezTo>
                  <a:pt x="2763522" y="2259168"/>
                  <a:pt x="1927499" y="2713465"/>
                  <a:pt x="1619796" y="2752653"/>
                </a:cubicBezTo>
                <a:cubicBezTo>
                  <a:pt x="1312093" y="2791841"/>
                  <a:pt x="1428208" y="2861510"/>
                  <a:pt x="1280162" y="2874573"/>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40711101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46" name="Prostokąt 45">
            <a:extLst>
              <a:ext uri="{FF2B5EF4-FFF2-40B4-BE49-F238E27FC236}">
                <a16:creationId xmlns:a16="http://schemas.microsoft.com/office/drawing/2014/main" id="{99740C7F-4585-40ED-B66E-5AE59B878F2A}"/>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7" name="Prostokąt 46">
            <a:extLst>
              <a:ext uri="{FF2B5EF4-FFF2-40B4-BE49-F238E27FC236}">
                <a16:creationId xmlns:a16="http://schemas.microsoft.com/office/drawing/2014/main" id="{28BC289F-A499-4BF9-889B-04733D50152B}"/>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8" name="Prostokąt 47">
            <a:extLst>
              <a:ext uri="{FF2B5EF4-FFF2-40B4-BE49-F238E27FC236}">
                <a16:creationId xmlns:a16="http://schemas.microsoft.com/office/drawing/2014/main" id="{EBE431DA-52FE-47D2-A6DF-72E4F158DE1A}"/>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9" name="Obraz 48">
            <a:extLst>
              <a:ext uri="{FF2B5EF4-FFF2-40B4-BE49-F238E27FC236}">
                <a16:creationId xmlns:a16="http://schemas.microsoft.com/office/drawing/2014/main" id="{6BC685FF-BD9B-4ED5-B0AF-3D98D64A55A5}"/>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50" name="Obraz 49">
            <a:extLst>
              <a:ext uri="{FF2B5EF4-FFF2-40B4-BE49-F238E27FC236}">
                <a16:creationId xmlns:a16="http://schemas.microsoft.com/office/drawing/2014/main" id="{A2CBFE88-D626-4FDA-ADB4-E79C8BD34FCE}"/>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51" name="Obraz 50">
            <a:extLst>
              <a:ext uri="{FF2B5EF4-FFF2-40B4-BE49-F238E27FC236}">
                <a16:creationId xmlns:a16="http://schemas.microsoft.com/office/drawing/2014/main" id="{859470F5-0DF7-4F6B-98E1-E301E2752946}"/>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52" name="Łącznik prosty ze strzałką 51">
            <a:extLst>
              <a:ext uri="{FF2B5EF4-FFF2-40B4-BE49-F238E27FC236}">
                <a16:creationId xmlns:a16="http://schemas.microsoft.com/office/drawing/2014/main" id="{22B324E6-9D98-494E-B876-10CBA4D150C5}"/>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3" name="Łącznik prosty ze strzałką 52">
            <a:extLst>
              <a:ext uri="{FF2B5EF4-FFF2-40B4-BE49-F238E27FC236}">
                <a16:creationId xmlns:a16="http://schemas.microsoft.com/office/drawing/2014/main" id="{2A9AFADA-F9E8-41FE-9548-8B07450186FB}"/>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4" name="Łącznik prosty ze strzałką 53">
            <a:extLst>
              <a:ext uri="{FF2B5EF4-FFF2-40B4-BE49-F238E27FC236}">
                <a16:creationId xmlns:a16="http://schemas.microsoft.com/office/drawing/2014/main" id="{FAB15F1E-8D8F-45CB-B069-62F50009FB40}"/>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5" name="Łącznik prosty ze strzałką 54">
            <a:extLst>
              <a:ext uri="{FF2B5EF4-FFF2-40B4-BE49-F238E27FC236}">
                <a16:creationId xmlns:a16="http://schemas.microsoft.com/office/drawing/2014/main" id="{18B957FE-8EA2-473E-B55C-67E7D3B642A2}"/>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14" name="Dowolny kształt: kształt 13">
            <a:extLst>
              <a:ext uri="{FF2B5EF4-FFF2-40B4-BE49-F238E27FC236}">
                <a16:creationId xmlns:a16="http://schemas.microsoft.com/office/drawing/2014/main" id="{3D55C4D3-B297-4C58-8049-FF1AC16A453B}"/>
              </a:ext>
            </a:extLst>
          </p:cNvPr>
          <p:cNvSpPr/>
          <p:nvPr/>
        </p:nvSpPr>
        <p:spPr>
          <a:xfrm>
            <a:off x="189836" y="312836"/>
            <a:ext cx="7931067" cy="6486400"/>
          </a:xfrm>
          <a:custGeom>
            <a:avLst/>
            <a:gdLst>
              <a:gd name="connsiteX0" fmla="*/ 1753 w 7931067"/>
              <a:gd name="connsiteY0" fmla="*/ 1812055 h 6486400"/>
              <a:gd name="connsiteX1" fmla="*/ 228175 w 7931067"/>
              <a:gd name="connsiteY1" fmla="*/ 767027 h 6486400"/>
              <a:gd name="connsiteX2" fmla="*/ 890027 w 7931067"/>
              <a:gd name="connsiteY2" fmla="*/ 122593 h 6486400"/>
              <a:gd name="connsiteX3" fmla="*/ 2744953 w 7931067"/>
              <a:gd name="connsiteY3" fmla="*/ 35507 h 6486400"/>
              <a:gd name="connsiteX4" fmla="*/ 4190575 w 7931067"/>
              <a:gd name="connsiteY4" fmla="*/ 540604 h 6486400"/>
              <a:gd name="connsiteX5" fmla="*/ 5157227 w 7931067"/>
              <a:gd name="connsiteY5" fmla="*/ 1829473 h 6486400"/>
              <a:gd name="connsiteX6" fmla="*/ 5270438 w 7931067"/>
              <a:gd name="connsiteY6" fmla="*/ 3736650 h 6486400"/>
              <a:gd name="connsiteX7" fmla="*/ 6315467 w 7931067"/>
              <a:gd name="connsiteY7" fmla="*/ 3710524 h 6486400"/>
              <a:gd name="connsiteX8" fmla="*/ 6689935 w 7931067"/>
              <a:gd name="connsiteY8" fmla="*/ 3562478 h 6486400"/>
              <a:gd name="connsiteX9" fmla="*/ 7160198 w 7931067"/>
              <a:gd name="connsiteY9" fmla="*/ 3571187 h 6486400"/>
              <a:gd name="connsiteX10" fmla="*/ 7464998 w 7931067"/>
              <a:gd name="connsiteY10" fmla="*/ 3963073 h 6486400"/>
              <a:gd name="connsiteX11" fmla="*/ 7883010 w 7931067"/>
              <a:gd name="connsiteY11" fmla="*/ 4912307 h 6486400"/>
              <a:gd name="connsiteX12" fmla="*/ 7795924 w 7931067"/>
              <a:gd name="connsiteY12" fmla="*/ 5887667 h 6486400"/>
              <a:gd name="connsiteX13" fmla="*/ 6759604 w 7931067"/>
              <a:gd name="connsiteY13" fmla="*/ 6410181 h 6486400"/>
              <a:gd name="connsiteX14" fmla="*/ 4774050 w 7931067"/>
              <a:gd name="connsiteY14" fmla="*/ 6453724 h 6486400"/>
              <a:gd name="connsiteX15" fmla="*/ 3598393 w 7931067"/>
              <a:gd name="connsiteY15" fmla="*/ 6122798 h 6486400"/>
              <a:gd name="connsiteX16" fmla="*/ 2988793 w 7931067"/>
              <a:gd name="connsiteY16" fmla="*/ 5521907 h 6486400"/>
              <a:gd name="connsiteX17" fmla="*/ 2892998 w 7931067"/>
              <a:gd name="connsiteY17" fmla="*/ 4990684 h 6486400"/>
              <a:gd name="connsiteX18" fmla="*/ 2614324 w 7931067"/>
              <a:gd name="connsiteY18" fmla="*/ 4224330 h 6486400"/>
              <a:gd name="connsiteX19" fmla="*/ 1978598 w 7931067"/>
              <a:gd name="connsiteY19" fmla="*/ 3754067 h 6486400"/>
              <a:gd name="connsiteX20" fmla="*/ 620061 w 7931067"/>
              <a:gd name="connsiteY20" fmla="*/ 2700330 h 6486400"/>
              <a:gd name="connsiteX21" fmla="*/ 149798 w 7931067"/>
              <a:gd name="connsiteY21" fmla="*/ 2125564 h 6486400"/>
              <a:gd name="connsiteX22" fmla="*/ 1753 w 7931067"/>
              <a:gd name="connsiteY22" fmla="*/ 1812055 h 6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31067" h="6486400">
                <a:moveTo>
                  <a:pt x="1753" y="1812055"/>
                </a:moveTo>
                <a:cubicBezTo>
                  <a:pt x="14816" y="1585632"/>
                  <a:pt x="80129" y="1048604"/>
                  <a:pt x="228175" y="767027"/>
                </a:cubicBezTo>
                <a:cubicBezTo>
                  <a:pt x="376221" y="485450"/>
                  <a:pt x="470564" y="244513"/>
                  <a:pt x="890027" y="122593"/>
                </a:cubicBezTo>
                <a:cubicBezTo>
                  <a:pt x="1309490" y="673"/>
                  <a:pt x="2194862" y="-34161"/>
                  <a:pt x="2744953" y="35507"/>
                </a:cubicBezTo>
                <a:cubicBezTo>
                  <a:pt x="3295044" y="105175"/>
                  <a:pt x="3788529" y="241610"/>
                  <a:pt x="4190575" y="540604"/>
                </a:cubicBezTo>
                <a:cubicBezTo>
                  <a:pt x="4592621" y="839598"/>
                  <a:pt x="4977250" y="1296799"/>
                  <a:pt x="5157227" y="1829473"/>
                </a:cubicBezTo>
                <a:cubicBezTo>
                  <a:pt x="5337204" y="2362147"/>
                  <a:pt x="5077398" y="3423142"/>
                  <a:pt x="5270438" y="3736650"/>
                </a:cubicBezTo>
                <a:cubicBezTo>
                  <a:pt x="5463478" y="4050158"/>
                  <a:pt x="6078884" y="3739553"/>
                  <a:pt x="6315467" y="3710524"/>
                </a:cubicBezTo>
                <a:cubicBezTo>
                  <a:pt x="6552050" y="3681495"/>
                  <a:pt x="6549147" y="3585701"/>
                  <a:pt x="6689935" y="3562478"/>
                </a:cubicBezTo>
                <a:cubicBezTo>
                  <a:pt x="6830723" y="3539255"/>
                  <a:pt x="7031021" y="3504421"/>
                  <a:pt x="7160198" y="3571187"/>
                </a:cubicBezTo>
                <a:cubicBezTo>
                  <a:pt x="7289375" y="3637953"/>
                  <a:pt x="7344529" y="3739553"/>
                  <a:pt x="7464998" y="3963073"/>
                </a:cubicBezTo>
                <a:cubicBezTo>
                  <a:pt x="7585467" y="4186593"/>
                  <a:pt x="7827856" y="4591541"/>
                  <a:pt x="7883010" y="4912307"/>
                </a:cubicBezTo>
                <a:cubicBezTo>
                  <a:pt x="7938164" y="5233073"/>
                  <a:pt x="7983158" y="5638021"/>
                  <a:pt x="7795924" y="5887667"/>
                </a:cubicBezTo>
                <a:cubicBezTo>
                  <a:pt x="7608690" y="6137313"/>
                  <a:pt x="7263250" y="6315838"/>
                  <a:pt x="6759604" y="6410181"/>
                </a:cubicBezTo>
                <a:cubicBezTo>
                  <a:pt x="6255958" y="6504524"/>
                  <a:pt x="5300918" y="6501621"/>
                  <a:pt x="4774050" y="6453724"/>
                </a:cubicBezTo>
                <a:cubicBezTo>
                  <a:pt x="4247182" y="6405827"/>
                  <a:pt x="3895936" y="6278101"/>
                  <a:pt x="3598393" y="6122798"/>
                </a:cubicBezTo>
                <a:cubicBezTo>
                  <a:pt x="3300850" y="5967495"/>
                  <a:pt x="3106359" y="5710593"/>
                  <a:pt x="2988793" y="5521907"/>
                </a:cubicBezTo>
                <a:cubicBezTo>
                  <a:pt x="2871227" y="5333221"/>
                  <a:pt x="2955410" y="5206947"/>
                  <a:pt x="2892998" y="4990684"/>
                </a:cubicBezTo>
                <a:cubicBezTo>
                  <a:pt x="2830587" y="4774421"/>
                  <a:pt x="2766724" y="4430433"/>
                  <a:pt x="2614324" y="4224330"/>
                </a:cubicBezTo>
                <a:cubicBezTo>
                  <a:pt x="2461924" y="4018227"/>
                  <a:pt x="2310975" y="4008067"/>
                  <a:pt x="1978598" y="3754067"/>
                </a:cubicBezTo>
                <a:cubicBezTo>
                  <a:pt x="1646221" y="3500067"/>
                  <a:pt x="924861" y="2971747"/>
                  <a:pt x="620061" y="2700330"/>
                </a:cubicBezTo>
                <a:cubicBezTo>
                  <a:pt x="315261" y="2428913"/>
                  <a:pt x="249946" y="2270707"/>
                  <a:pt x="149798" y="2125564"/>
                </a:cubicBezTo>
                <a:cubicBezTo>
                  <a:pt x="49650" y="1980421"/>
                  <a:pt x="-11310" y="2038478"/>
                  <a:pt x="1753" y="1812055"/>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8" name="Obraz 57">
            <a:extLst>
              <a:ext uri="{FF2B5EF4-FFF2-40B4-BE49-F238E27FC236}">
                <a16:creationId xmlns:a16="http://schemas.microsoft.com/office/drawing/2014/main" id="{8E4A6941-F8FB-4653-A6AE-EA168B3DCB61}"/>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59" name="Obraz 58">
            <a:extLst>
              <a:ext uri="{FF2B5EF4-FFF2-40B4-BE49-F238E27FC236}">
                <a16:creationId xmlns:a16="http://schemas.microsoft.com/office/drawing/2014/main" id="{928582DF-1502-4F54-B452-50B4FAE2C541}"/>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15" name="Dowolny kształt: kształt 14">
            <a:extLst>
              <a:ext uri="{FF2B5EF4-FFF2-40B4-BE49-F238E27FC236}">
                <a16:creationId xmlns:a16="http://schemas.microsoft.com/office/drawing/2014/main" id="{4E43945B-1D92-43C8-B7AF-26AB048FFAF3}"/>
              </a:ext>
            </a:extLst>
          </p:cNvPr>
          <p:cNvSpPr/>
          <p:nvPr/>
        </p:nvSpPr>
        <p:spPr>
          <a:xfrm>
            <a:off x="5288432" y="58764"/>
            <a:ext cx="6629218" cy="6398971"/>
          </a:xfrm>
          <a:custGeom>
            <a:avLst/>
            <a:gdLst>
              <a:gd name="connsiteX0" fmla="*/ 1280162 w 6629218"/>
              <a:gd name="connsiteY0" fmla="*/ 2874573 h 6398971"/>
              <a:gd name="connsiteX1" fmla="*/ 731522 w 6629218"/>
              <a:gd name="connsiteY1" fmla="*/ 2831030 h 6398971"/>
              <a:gd name="connsiteX2" fmla="*/ 182882 w 6629218"/>
              <a:gd name="connsiteY2" fmla="*/ 2413019 h 6398971"/>
              <a:gd name="connsiteX3" fmla="*/ 34836 w 6629218"/>
              <a:gd name="connsiteY3" fmla="*/ 1542162 h 6398971"/>
              <a:gd name="connsiteX4" fmla="*/ 775065 w 6629218"/>
              <a:gd name="connsiteY4" fmla="*/ 810642 h 6398971"/>
              <a:gd name="connsiteX5" fmla="*/ 2673533 w 6629218"/>
              <a:gd name="connsiteY5" fmla="*/ 140082 h 6398971"/>
              <a:gd name="connsiteX6" fmla="*/ 3770813 w 6629218"/>
              <a:gd name="connsiteY6" fmla="*/ 9453 h 6398971"/>
              <a:gd name="connsiteX7" fmla="*/ 5059682 w 6629218"/>
              <a:gd name="connsiteY7" fmla="*/ 296836 h 6398971"/>
              <a:gd name="connsiteX8" fmla="*/ 6104710 w 6629218"/>
              <a:gd name="connsiteY8" fmla="*/ 949979 h 6398971"/>
              <a:gd name="connsiteX9" fmla="*/ 6487888 w 6629218"/>
              <a:gd name="connsiteY9" fmla="*/ 1690208 h 6398971"/>
              <a:gd name="connsiteX10" fmla="*/ 6461762 w 6629218"/>
              <a:gd name="connsiteY10" fmla="*/ 2691693 h 6398971"/>
              <a:gd name="connsiteX11" fmla="*/ 6235339 w 6629218"/>
              <a:gd name="connsiteY11" fmla="*/ 3797682 h 6398971"/>
              <a:gd name="connsiteX12" fmla="*/ 6383385 w 6629218"/>
              <a:gd name="connsiteY12" fmla="*/ 4694665 h 6398971"/>
              <a:gd name="connsiteX13" fmla="*/ 6627225 w 6629218"/>
              <a:gd name="connsiteY13" fmla="*/ 5434893 h 6398971"/>
              <a:gd name="connsiteX14" fmla="*/ 6479179 w 6629218"/>
              <a:gd name="connsiteY14" fmla="*/ 5983533 h 6398971"/>
              <a:gd name="connsiteX15" fmla="*/ 6139545 w 6629218"/>
              <a:gd name="connsiteY15" fmla="*/ 6375419 h 6398971"/>
              <a:gd name="connsiteX16" fmla="*/ 5050973 w 6629218"/>
              <a:gd name="connsiteY16" fmla="*/ 6209956 h 6398971"/>
              <a:gd name="connsiteX17" fmla="*/ 3796939 w 6629218"/>
              <a:gd name="connsiteY17" fmla="*/ 5034299 h 6398971"/>
              <a:gd name="connsiteX18" fmla="*/ 3126379 w 6629218"/>
              <a:gd name="connsiteY18" fmla="*/ 2639442 h 6398971"/>
              <a:gd name="connsiteX19" fmla="*/ 1619796 w 6629218"/>
              <a:gd name="connsiteY19" fmla="*/ 2752653 h 6398971"/>
              <a:gd name="connsiteX20" fmla="*/ 1280162 w 6629218"/>
              <a:gd name="connsiteY20" fmla="*/ 2874573 h 639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29218" h="6398971">
                <a:moveTo>
                  <a:pt x="1280162" y="2874573"/>
                </a:moveTo>
                <a:cubicBezTo>
                  <a:pt x="1132116" y="2887636"/>
                  <a:pt x="914402" y="2907956"/>
                  <a:pt x="731522" y="2831030"/>
                </a:cubicBezTo>
                <a:cubicBezTo>
                  <a:pt x="548642" y="2754104"/>
                  <a:pt x="298996" y="2627830"/>
                  <a:pt x="182882" y="2413019"/>
                </a:cubicBezTo>
                <a:cubicBezTo>
                  <a:pt x="66768" y="2198208"/>
                  <a:pt x="-63861" y="1809225"/>
                  <a:pt x="34836" y="1542162"/>
                </a:cubicBezTo>
                <a:cubicBezTo>
                  <a:pt x="133533" y="1275099"/>
                  <a:pt x="335282" y="1044322"/>
                  <a:pt x="775065" y="810642"/>
                </a:cubicBezTo>
                <a:cubicBezTo>
                  <a:pt x="1214848" y="576962"/>
                  <a:pt x="2174242" y="273613"/>
                  <a:pt x="2673533" y="140082"/>
                </a:cubicBezTo>
                <a:cubicBezTo>
                  <a:pt x="3172824" y="6551"/>
                  <a:pt x="3373121" y="-16673"/>
                  <a:pt x="3770813" y="9453"/>
                </a:cubicBezTo>
                <a:cubicBezTo>
                  <a:pt x="4168505" y="35579"/>
                  <a:pt x="4670699" y="140082"/>
                  <a:pt x="5059682" y="296836"/>
                </a:cubicBezTo>
                <a:cubicBezTo>
                  <a:pt x="5448665" y="453590"/>
                  <a:pt x="5866676" y="717750"/>
                  <a:pt x="6104710" y="949979"/>
                </a:cubicBezTo>
                <a:cubicBezTo>
                  <a:pt x="6342744" y="1182208"/>
                  <a:pt x="6428379" y="1399922"/>
                  <a:pt x="6487888" y="1690208"/>
                </a:cubicBezTo>
                <a:cubicBezTo>
                  <a:pt x="6547397" y="1980494"/>
                  <a:pt x="6503854" y="2340447"/>
                  <a:pt x="6461762" y="2691693"/>
                </a:cubicBezTo>
                <a:cubicBezTo>
                  <a:pt x="6419671" y="3042939"/>
                  <a:pt x="6248402" y="3463853"/>
                  <a:pt x="6235339" y="3797682"/>
                </a:cubicBezTo>
                <a:cubicBezTo>
                  <a:pt x="6222276" y="4131511"/>
                  <a:pt x="6318071" y="4421797"/>
                  <a:pt x="6383385" y="4694665"/>
                </a:cubicBezTo>
                <a:cubicBezTo>
                  <a:pt x="6448699" y="4967533"/>
                  <a:pt x="6611259" y="5220082"/>
                  <a:pt x="6627225" y="5434893"/>
                </a:cubicBezTo>
                <a:cubicBezTo>
                  <a:pt x="6643191" y="5649704"/>
                  <a:pt x="6560459" y="5826779"/>
                  <a:pt x="6479179" y="5983533"/>
                </a:cubicBezTo>
                <a:cubicBezTo>
                  <a:pt x="6397899" y="6140287"/>
                  <a:pt x="6377579" y="6337682"/>
                  <a:pt x="6139545" y="6375419"/>
                </a:cubicBezTo>
                <a:cubicBezTo>
                  <a:pt x="5901511" y="6413156"/>
                  <a:pt x="5441407" y="6433476"/>
                  <a:pt x="5050973" y="6209956"/>
                </a:cubicBezTo>
                <a:cubicBezTo>
                  <a:pt x="4660539" y="5986436"/>
                  <a:pt x="4117705" y="5629385"/>
                  <a:pt x="3796939" y="5034299"/>
                </a:cubicBezTo>
                <a:cubicBezTo>
                  <a:pt x="3476173" y="4439213"/>
                  <a:pt x="3489236" y="3019716"/>
                  <a:pt x="3126379" y="2639442"/>
                </a:cubicBezTo>
                <a:cubicBezTo>
                  <a:pt x="2763522" y="2259168"/>
                  <a:pt x="1927499" y="2713465"/>
                  <a:pt x="1619796" y="2752653"/>
                </a:cubicBezTo>
                <a:cubicBezTo>
                  <a:pt x="1312093" y="2791841"/>
                  <a:pt x="1428208" y="2861510"/>
                  <a:pt x="1280162" y="2874573"/>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6" name="pole tekstowe 55">
            <a:extLst>
              <a:ext uri="{FF2B5EF4-FFF2-40B4-BE49-F238E27FC236}">
                <a16:creationId xmlns:a16="http://schemas.microsoft.com/office/drawing/2014/main" id="{13D1C761-7E01-4326-9EE8-493D6F1C9699}"/>
              </a:ext>
            </a:extLst>
          </p:cNvPr>
          <p:cNvSpPr txBox="1"/>
          <p:nvPr/>
        </p:nvSpPr>
        <p:spPr>
          <a:xfrm>
            <a:off x="6830215" y="2484264"/>
            <a:ext cx="4637930"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Multiple generic render fragments</a:t>
            </a:r>
          </a:p>
        </p:txBody>
      </p:sp>
      <p:sp>
        <p:nvSpPr>
          <p:cNvPr id="57" name="pole tekstowe 56">
            <a:extLst>
              <a:ext uri="{FF2B5EF4-FFF2-40B4-BE49-F238E27FC236}">
                <a16:creationId xmlns:a16="http://schemas.microsoft.com/office/drawing/2014/main" id="{176B1C91-1B6B-46A3-929C-63F937CAD53A}"/>
              </a:ext>
            </a:extLst>
          </p:cNvPr>
          <p:cNvSpPr txBox="1"/>
          <p:nvPr/>
        </p:nvSpPr>
        <p:spPr>
          <a:xfrm>
            <a:off x="7330264" y="3128891"/>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Template parameters</a:t>
            </a:r>
          </a:p>
        </p:txBody>
      </p:sp>
      <p:sp>
        <p:nvSpPr>
          <p:cNvPr id="60" name="pole tekstowe 59">
            <a:extLst>
              <a:ext uri="{FF2B5EF4-FFF2-40B4-BE49-F238E27FC236}">
                <a16:creationId xmlns:a16="http://schemas.microsoft.com/office/drawing/2014/main" id="{9A7B7EA7-A061-49AB-A052-61CE4959CA20}"/>
              </a:ext>
            </a:extLst>
          </p:cNvPr>
          <p:cNvSpPr txBox="1"/>
          <p:nvPr/>
        </p:nvSpPr>
        <p:spPr>
          <a:xfrm>
            <a:off x="7762264" y="3771814"/>
            <a:ext cx="3924545"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Template context parameters</a:t>
            </a:r>
          </a:p>
        </p:txBody>
      </p:sp>
    </p:spTree>
    <p:extLst>
      <p:ext uri="{BB962C8B-B14F-4D97-AF65-F5344CB8AC3E}">
        <p14:creationId xmlns:p14="http://schemas.microsoft.com/office/powerpoint/2010/main" val="29220685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raz 2">
            <a:extLst>
              <a:ext uri="{FF2B5EF4-FFF2-40B4-BE49-F238E27FC236}">
                <a16:creationId xmlns:a16="http://schemas.microsoft.com/office/drawing/2014/main" id="{398F7B31-F010-460E-8896-8BFCBA460F50}"/>
              </a:ext>
            </a:extLst>
          </p:cNvPr>
          <p:cNvPicPr>
            <a:picLocks noChangeAspect="1"/>
          </p:cNvPicPr>
          <p:nvPr/>
        </p:nvPicPr>
        <p:blipFill>
          <a:blip r:embed="rId3">
            <a:clrChange>
              <a:clrFrom>
                <a:srgbClr val="ECECEC"/>
              </a:clrFrom>
              <a:clrTo>
                <a:srgbClr val="ECECEC">
                  <a:alpha val="0"/>
                </a:srgbClr>
              </a:clrTo>
            </a:clrChange>
          </a:blip>
          <a:stretch>
            <a:fillRect/>
          </a:stretch>
        </p:blipFill>
        <p:spPr>
          <a:xfrm>
            <a:off x="9552000" y="4221000"/>
            <a:ext cx="2305050" cy="2314575"/>
          </a:xfrm>
          <a:prstGeom prst="rect">
            <a:avLst/>
          </a:prstGeom>
        </p:spPr>
      </p:pic>
      <p:pic>
        <p:nvPicPr>
          <p:cNvPr id="2" name="Obraz 1">
            <a:extLst>
              <a:ext uri="{FF2B5EF4-FFF2-40B4-BE49-F238E27FC236}">
                <a16:creationId xmlns:a16="http://schemas.microsoft.com/office/drawing/2014/main" id="{11DAFB8B-9F0F-4B09-901B-EC5AC5CCEE73}"/>
              </a:ext>
            </a:extLst>
          </p:cNvPr>
          <p:cNvPicPr>
            <a:picLocks noChangeAspect="1"/>
          </p:cNvPicPr>
          <p:nvPr/>
        </p:nvPicPr>
        <p:blipFill>
          <a:blip r:embed="rId4"/>
          <a:stretch>
            <a:fillRect/>
          </a:stretch>
        </p:blipFill>
        <p:spPr>
          <a:xfrm>
            <a:off x="484762" y="4221000"/>
            <a:ext cx="2209800" cy="2219325"/>
          </a:xfrm>
          <a:prstGeom prst="rect">
            <a:avLst/>
          </a:prstGeom>
        </p:spPr>
      </p:pic>
      <p:sp>
        <p:nvSpPr>
          <p:cNvPr id="26" name="Title 12">
            <a:extLst>
              <a:ext uri="{FF2B5EF4-FFF2-40B4-BE49-F238E27FC236}">
                <a16:creationId xmlns:a16="http://schemas.microsoft.com/office/drawing/2014/main" id="{0D19F749-E505-4672-B693-E56A69D73E0E}"/>
              </a:ext>
            </a:extLst>
          </p:cNvPr>
          <p:cNvSpPr>
            <a:spLocks noGrp="1"/>
          </p:cNvSpPr>
          <p:nvPr>
            <p:ph type="title"/>
          </p:nvPr>
        </p:nvSpPr>
        <p:spPr>
          <a:xfrm>
            <a:off x="6600000" y="1197000"/>
            <a:ext cx="4500650" cy="1830078"/>
          </a:xfrm>
        </p:spPr>
        <p:txBody>
          <a:bodyPr/>
          <a:lstStyle/>
          <a:p>
            <a:pPr algn="ctr"/>
            <a:r>
              <a:rPr lang="pl-PL" sz="4000" dirty="0">
                <a:solidFill>
                  <a:srgbClr val="00B0F0"/>
                </a:solidFill>
                <a:latin typeface="Ubuntu" panose="020B0804030602030204" pitchFamily="34" charset="0"/>
              </a:rPr>
              <a:t>Demo #0</a:t>
            </a:r>
            <a:r>
              <a:rPr lang="en-US" sz="4000" dirty="0">
                <a:solidFill>
                  <a:srgbClr val="00B0F0"/>
                </a:solidFill>
                <a:latin typeface="Ubuntu" panose="020B0804030602030204" pitchFamily="34" charset="0"/>
              </a:rPr>
              <a:t>8</a:t>
            </a:r>
            <a:endParaRPr lang="en-GB" sz="4000" dirty="0">
              <a:solidFill>
                <a:srgbClr val="00B0F0"/>
              </a:solidFill>
              <a:latin typeface="Ubuntu" panose="020B0804030602030204" pitchFamily="34" charset="0"/>
            </a:endParaRPr>
          </a:p>
        </p:txBody>
      </p:sp>
      <p:grpSp>
        <p:nvGrpSpPr>
          <p:cNvPr id="12" name="Groupe 738">
            <a:extLst>
              <a:ext uri="{FF2B5EF4-FFF2-40B4-BE49-F238E27FC236}">
                <a16:creationId xmlns:a16="http://schemas.microsoft.com/office/drawing/2014/main" id="{C7C8DB83-54DE-437F-98B4-D39AAC440811}"/>
              </a:ext>
            </a:extLst>
          </p:cNvPr>
          <p:cNvGrpSpPr/>
          <p:nvPr/>
        </p:nvGrpSpPr>
        <p:grpSpPr>
          <a:xfrm>
            <a:off x="6944401" y="1556207"/>
            <a:ext cx="366442" cy="370735"/>
            <a:chOff x="4217988" y="4198938"/>
            <a:chExt cx="406400" cy="411162"/>
          </a:xfrm>
        </p:grpSpPr>
        <p:sp>
          <p:nvSpPr>
            <p:cNvPr id="13" name="Freeform 265">
              <a:extLst>
                <a:ext uri="{FF2B5EF4-FFF2-40B4-BE49-F238E27FC236}">
                  <a16:creationId xmlns:a16="http://schemas.microsoft.com/office/drawing/2014/main" id="{4E787958-25C5-4847-B9B6-15664D5CD20F}"/>
                </a:ext>
              </a:extLst>
            </p:cNvPr>
            <p:cNvSpPr>
              <a:spLocks/>
            </p:cNvSpPr>
            <p:nvPr/>
          </p:nvSpPr>
          <p:spPr bwMode="auto">
            <a:xfrm>
              <a:off x="4235450" y="4252913"/>
              <a:ext cx="388938" cy="357187"/>
            </a:xfrm>
            <a:custGeom>
              <a:avLst/>
              <a:gdLst>
                <a:gd name="T0" fmla="*/ 77 w 115"/>
                <a:gd name="T1" fmla="*/ 1 h 105"/>
                <a:gd name="T2" fmla="*/ 5 w 115"/>
                <a:gd name="T3" fmla="*/ 1 h 105"/>
                <a:gd name="T4" fmla="*/ 0 w 115"/>
                <a:gd name="T5" fmla="*/ 25 h 105"/>
                <a:gd name="T6" fmla="*/ 4 w 115"/>
                <a:gd name="T7" fmla="*/ 97 h 105"/>
                <a:gd name="T8" fmla="*/ 104 w 115"/>
                <a:gd name="T9" fmla="*/ 94 h 105"/>
                <a:gd name="T10" fmla="*/ 102 w 115"/>
                <a:gd name="T11" fmla="*/ 34 h 105"/>
                <a:gd name="T12" fmla="*/ 100 w 115"/>
                <a:gd name="T13" fmla="*/ 8 h 105"/>
                <a:gd name="T14" fmla="*/ 99 w 115"/>
                <a:gd name="T15" fmla="*/ 0 h 105"/>
                <a:gd name="T16" fmla="*/ 77 w 115"/>
                <a:gd name="T17" fmla="*/ 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05">
                  <a:moveTo>
                    <a:pt x="77" y="1"/>
                  </a:moveTo>
                  <a:cubicBezTo>
                    <a:pt x="77" y="1"/>
                    <a:pt x="22" y="11"/>
                    <a:pt x="5" y="1"/>
                  </a:cubicBezTo>
                  <a:cubicBezTo>
                    <a:pt x="0" y="25"/>
                    <a:pt x="0" y="25"/>
                    <a:pt x="0" y="25"/>
                  </a:cubicBezTo>
                  <a:cubicBezTo>
                    <a:pt x="4" y="97"/>
                    <a:pt x="4" y="97"/>
                    <a:pt x="4" y="97"/>
                  </a:cubicBezTo>
                  <a:cubicBezTo>
                    <a:pt x="4" y="97"/>
                    <a:pt x="92" y="105"/>
                    <a:pt x="104" y="94"/>
                  </a:cubicBezTo>
                  <a:cubicBezTo>
                    <a:pt x="115" y="83"/>
                    <a:pt x="102" y="34"/>
                    <a:pt x="102" y="34"/>
                  </a:cubicBezTo>
                  <a:cubicBezTo>
                    <a:pt x="100" y="8"/>
                    <a:pt x="100" y="8"/>
                    <a:pt x="100" y="8"/>
                  </a:cubicBezTo>
                  <a:cubicBezTo>
                    <a:pt x="99" y="0"/>
                    <a:pt x="99" y="0"/>
                    <a:pt x="99" y="0"/>
                  </a:cubicBezTo>
                  <a:lnTo>
                    <a:pt x="77" y="1"/>
                  </a:lnTo>
                  <a:close/>
                </a:path>
              </a:pathLst>
            </a:custGeom>
            <a:solidFill>
              <a:srgbClr val="12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66">
              <a:extLst>
                <a:ext uri="{FF2B5EF4-FFF2-40B4-BE49-F238E27FC236}">
                  <a16:creationId xmlns:a16="http://schemas.microsoft.com/office/drawing/2014/main" id="{53D8EC6D-7377-4F5C-BB3B-081A0A516676}"/>
                </a:ext>
              </a:extLst>
            </p:cNvPr>
            <p:cNvSpPr>
              <a:spLocks/>
            </p:cNvSpPr>
            <p:nvPr/>
          </p:nvSpPr>
          <p:spPr bwMode="auto">
            <a:xfrm>
              <a:off x="4316413" y="4198938"/>
              <a:ext cx="304800" cy="342900"/>
            </a:xfrm>
            <a:custGeom>
              <a:avLst/>
              <a:gdLst>
                <a:gd name="T0" fmla="*/ 88 w 90"/>
                <a:gd name="T1" fmla="*/ 2 h 101"/>
                <a:gd name="T2" fmla="*/ 86 w 90"/>
                <a:gd name="T3" fmla="*/ 1 h 101"/>
                <a:gd name="T4" fmla="*/ 80 w 90"/>
                <a:gd name="T5" fmla="*/ 2 h 101"/>
                <a:gd name="T6" fmla="*/ 36 w 90"/>
                <a:gd name="T7" fmla="*/ 64 h 101"/>
                <a:gd name="T8" fmla="*/ 27 w 90"/>
                <a:gd name="T9" fmla="*/ 46 h 101"/>
                <a:gd name="T10" fmla="*/ 26 w 90"/>
                <a:gd name="T11" fmla="*/ 46 h 101"/>
                <a:gd name="T12" fmla="*/ 20 w 90"/>
                <a:gd name="T13" fmla="*/ 43 h 101"/>
                <a:gd name="T14" fmla="*/ 10 w 90"/>
                <a:gd name="T15" fmla="*/ 46 h 101"/>
                <a:gd name="T16" fmla="*/ 3 w 90"/>
                <a:gd name="T17" fmla="*/ 61 h 101"/>
                <a:gd name="T18" fmla="*/ 4 w 90"/>
                <a:gd name="T19" fmla="*/ 61 h 101"/>
                <a:gd name="T20" fmla="*/ 31 w 90"/>
                <a:gd name="T21" fmla="*/ 99 h 101"/>
                <a:gd name="T22" fmla="*/ 35 w 90"/>
                <a:gd name="T23" fmla="*/ 101 h 101"/>
                <a:gd name="T24" fmla="*/ 35 w 90"/>
                <a:gd name="T25" fmla="*/ 101 h 101"/>
                <a:gd name="T26" fmla="*/ 39 w 90"/>
                <a:gd name="T27" fmla="*/ 98 h 101"/>
                <a:gd name="T28" fmla="*/ 89 w 90"/>
                <a:gd name="T29" fmla="*/ 8 h 101"/>
                <a:gd name="T30" fmla="*/ 88 w 90"/>
                <a:gd name="T3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1">
                  <a:moveTo>
                    <a:pt x="88" y="2"/>
                  </a:moveTo>
                  <a:cubicBezTo>
                    <a:pt x="86" y="1"/>
                    <a:pt x="86" y="1"/>
                    <a:pt x="86" y="1"/>
                  </a:cubicBezTo>
                  <a:cubicBezTo>
                    <a:pt x="84" y="0"/>
                    <a:pt x="82" y="0"/>
                    <a:pt x="80" y="2"/>
                  </a:cubicBezTo>
                  <a:cubicBezTo>
                    <a:pt x="36" y="64"/>
                    <a:pt x="36" y="64"/>
                    <a:pt x="36" y="64"/>
                  </a:cubicBezTo>
                  <a:cubicBezTo>
                    <a:pt x="27" y="46"/>
                    <a:pt x="27" y="46"/>
                    <a:pt x="27" y="46"/>
                  </a:cubicBezTo>
                  <a:cubicBezTo>
                    <a:pt x="27" y="46"/>
                    <a:pt x="27" y="46"/>
                    <a:pt x="26" y="46"/>
                  </a:cubicBezTo>
                  <a:cubicBezTo>
                    <a:pt x="26" y="45"/>
                    <a:pt x="24" y="43"/>
                    <a:pt x="20" y="43"/>
                  </a:cubicBezTo>
                  <a:cubicBezTo>
                    <a:pt x="17" y="43"/>
                    <a:pt x="13" y="44"/>
                    <a:pt x="10" y="46"/>
                  </a:cubicBezTo>
                  <a:cubicBezTo>
                    <a:pt x="3" y="50"/>
                    <a:pt x="0" y="57"/>
                    <a:pt x="3" y="61"/>
                  </a:cubicBezTo>
                  <a:cubicBezTo>
                    <a:pt x="4" y="61"/>
                    <a:pt x="4" y="61"/>
                    <a:pt x="4" y="61"/>
                  </a:cubicBezTo>
                  <a:cubicBezTo>
                    <a:pt x="31" y="99"/>
                    <a:pt x="31" y="99"/>
                    <a:pt x="31" y="99"/>
                  </a:cubicBezTo>
                  <a:cubicBezTo>
                    <a:pt x="32" y="100"/>
                    <a:pt x="34" y="101"/>
                    <a:pt x="35" y="101"/>
                  </a:cubicBezTo>
                  <a:cubicBezTo>
                    <a:pt x="35" y="101"/>
                    <a:pt x="35" y="101"/>
                    <a:pt x="35" y="101"/>
                  </a:cubicBezTo>
                  <a:cubicBezTo>
                    <a:pt x="37" y="101"/>
                    <a:pt x="38" y="100"/>
                    <a:pt x="39" y="98"/>
                  </a:cubicBezTo>
                  <a:cubicBezTo>
                    <a:pt x="89" y="8"/>
                    <a:pt x="89" y="8"/>
                    <a:pt x="89" y="8"/>
                  </a:cubicBezTo>
                  <a:cubicBezTo>
                    <a:pt x="90" y="6"/>
                    <a:pt x="90" y="3"/>
                    <a:pt x="88" y="2"/>
                  </a:cubicBezTo>
                  <a:close/>
                </a:path>
              </a:pathLst>
            </a:custGeom>
            <a:solidFill>
              <a:srgbClr val="A042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67">
              <a:extLst>
                <a:ext uri="{FF2B5EF4-FFF2-40B4-BE49-F238E27FC236}">
                  <a16:creationId xmlns:a16="http://schemas.microsoft.com/office/drawing/2014/main" id="{E4C632C5-D16D-44F5-BF29-2156F9C7EEEE}"/>
                </a:ext>
              </a:extLst>
            </p:cNvPr>
            <p:cNvSpPr>
              <a:spLocks/>
            </p:cNvSpPr>
            <p:nvPr/>
          </p:nvSpPr>
          <p:spPr bwMode="auto">
            <a:xfrm>
              <a:off x="4217988" y="4240213"/>
              <a:ext cx="385763" cy="366712"/>
            </a:xfrm>
            <a:custGeom>
              <a:avLst/>
              <a:gdLst>
                <a:gd name="T0" fmla="*/ 45 w 114"/>
                <a:gd name="T1" fmla="*/ 108 h 108"/>
                <a:gd name="T2" fmla="*/ 10 w 114"/>
                <a:gd name="T3" fmla="*/ 107 h 108"/>
                <a:gd name="T4" fmla="*/ 6 w 114"/>
                <a:gd name="T5" fmla="*/ 107 h 108"/>
                <a:gd name="T6" fmla="*/ 5 w 114"/>
                <a:gd name="T7" fmla="*/ 103 h 108"/>
                <a:gd name="T8" fmla="*/ 2 w 114"/>
                <a:gd name="T9" fmla="*/ 56 h 108"/>
                <a:gd name="T10" fmla="*/ 8 w 114"/>
                <a:gd name="T11" fmla="*/ 2 h 108"/>
                <a:gd name="T12" fmla="*/ 15 w 114"/>
                <a:gd name="T13" fmla="*/ 3 h 108"/>
                <a:gd name="T14" fmla="*/ 102 w 114"/>
                <a:gd name="T15" fmla="*/ 0 h 108"/>
                <a:gd name="T16" fmla="*/ 94 w 114"/>
                <a:gd name="T17" fmla="*/ 11 h 108"/>
                <a:gd name="T18" fmla="*/ 12 w 114"/>
                <a:gd name="T19" fmla="*/ 12 h 108"/>
                <a:gd name="T20" fmla="*/ 14 w 114"/>
                <a:gd name="T21" fmla="*/ 98 h 108"/>
                <a:gd name="T22" fmla="*/ 104 w 114"/>
                <a:gd name="T23" fmla="*/ 95 h 108"/>
                <a:gd name="T24" fmla="*/ 101 w 114"/>
                <a:gd name="T25" fmla="*/ 25 h 108"/>
                <a:gd name="T26" fmla="*/ 111 w 114"/>
                <a:gd name="T27" fmla="*/ 9 h 108"/>
                <a:gd name="T28" fmla="*/ 114 w 114"/>
                <a:gd name="T29" fmla="*/ 101 h 108"/>
                <a:gd name="T30" fmla="*/ 111 w 114"/>
                <a:gd name="T31" fmla="*/ 102 h 108"/>
                <a:gd name="T32" fmla="*/ 45 w 114"/>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108">
                  <a:moveTo>
                    <a:pt x="45" y="108"/>
                  </a:moveTo>
                  <a:cubicBezTo>
                    <a:pt x="26" y="108"/>
                    <a:pt x="11" y="107"/>
                    <a:pt x="10" y="107"/>
                  </a:cubicBezTo>
                  <a:cubicBezTo>
                    <a:pt x="6" y="107"/>
                    <a:pt x="6" y="107"/>
                    <a:pt x="6" y="107"/>
                  </a:cubicBezTo>
                  <a:cubicBezTo>
                    <a:pt x="5" y="103"/>
                    <a:pt x="5" y="103"/>
                    <a:pt x="5" y="103"/>
                  </a:cubicBezTo>
                  <a:cubicBezTo>
                    <a:pt x="5" y="103"/>
                    <a:pt x="3" y="80"/>
                    <a:pt x="2" y="56"/>
                  </a:cubicBezTo>
                  <a:cubicBezTo>
                    <a:pt x="0" y="6"/>
                    <a:pt x="5" y="4"/>
                    <a:pt x="8" y="2"/>
                  </a:cubicBezTo>
                  <a:cubicBezTo>
                    <a:pt x="10" y="1"/>
                    <a:pt x="13" y="1"/>
                    <a:pt x="15" y="3"/>
                  </a:cubicBezTo>
                  <a:cubicBezTo>
                    <a:pt x="21" y="8"/>
                    <a:pt x="81" y="3"/>
                    <a:pt x="102" y="0"/>
                  </a:cubicBezTo>
                  <a:cubicBezTo>
                    <a:pt x="94" y="11"/>
                    <a:pt x="94" y="11"/>
                    <a:pt x="94" y="11"/>
                  </a:cubicBezTo>
                  <a:cubicBezTo>
                    <a:pt x="85" y="12"/>
                    <a:pt x="28" y="19"/>
                    <a:pt x="12" y="12"/>
                  </a:cubicBezTo>
                  <a:cubicBezTo>
                    <a:pt x="10" y="23"/>
                    <a:pt x="11" y="63"/>
                    <a:pt x="14" y="98"/>
                  </a:cubicBezTo>
                  <a:cubicBezTo>
                    <a:pt x="37" y="99"/>
                    <a:pt x="87" y="99"/>
                    <a:pt x="104" y="95"/>
                  </a:cubicBezTo>
                  <a:cubicBezTo>
                    <a:pt x="101" y="25"/>
                    <a:pt x="101" y="25"/>
                    <a:pt x="101" y="25"/>
                  </a:cubicBezTo>
                  <a:cubicBezTo>
                    <a:pt x="111" y="9"/>
                    <a:pt x="111" y="9"/>
                    <a:pt x="111" y="9"/>
                  </a:cubicBezTo>
                  <a:cubicBezTo>
                    <a:pt x="114" y="101"/>
                    <a:pt x="114" y="101"/>
                    <a:pt x="114" y="101"/>
                  </a:cubicBezTo>
                  <a:cubicBezTo>
                    <a:pt x="111" y="102"/>
                    <a:pt x="111" y="102"/>
                    <a:pt x="111" y="102"/>
                  </a:cubicBezTo>
                  <a:cubicBezTo>
                    <a:pt x="100" y="107"/>
                    <a:pt x="69" y="108"/>
                    <a:pt x="45" y="108"/>
                  </a:cubicBezTo>
                  <a:close/>
                </a:path>
              </a:pathLst>
            </a:custGeom>
            <a:solidFill>
              <a:srgbClr val="2B0A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72781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46" name="Prostokąt 45">
            <a:extLst>
              <a:ext uri="{FF2B5EF4-FFF2-40B4-BE49-F238E27FC236}">
                <a16:creationId xmlns:a16="http://schemas.microsoft.com/office/drawing/2014/main" id="{99740C7F-4585-40ED-B66E-5AE59B878F2A}"/>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7" name="Prostokąt 46">
            <a:extLst>
              <a:ext uri="{FF2B5EF4-FFF2-40B4-BE49-F238E27FC236}">
                <a16:creationId xmlns:a16="http://schemas.microsoft.com/office/drawing/2014/main" id="{28BC289F-A499-4BF9-889B-04733D50152B}"/>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8" name="Prostokąt 47">
            <a:extLst>
              <a:ext uri="{FF2B5EF4-FFF2-40B4-BE49-F238E27FC236}">
                <a16:creationId xmlns:a16="http://schemas.microsoft.com/office/drawing/2014/main" id="{EBE431DA-52FE-47D2-A6DF-72E4F158DE1A}"/>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9" name="Obraz 48">
            <a:extLst>
              <a:ext uri="{FF2B5EF4-FFF2-40B4-BE49-F238E27FC236}">
                <a16:creationId xmlns:a16="http://schemas.microsoft.com/office/drawing/2014/main" id="{6BC685FF-BD9B-4ED5-B0AF-3D98D64A55A5}"/>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50" name="Obraz 49">
            <a:extLst>
              <a:ext uri="{FF2B5EF4-FFF2-40B4-BE49-F238E27FC236}">
                <a16:creationId xmlns:a16="http://schemas.microsoft.com/office/drawing/2014/main" id="{A2CBFE88-D626-4FDA-ADB4-E79C8BD34FCE}"/>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51" name="Obraz 50">
            <a:extLst>
              <a:ext uri="{FF2B5EF4-FFF2-40B4-BE49-F238E27FC236}">
                <a16:creationId xmlns:a16="http://schemas.microsoft.com/office/drawing/2014/main" id="{859470F5-0DF7-4F6B-98E1-E301E2752946}"/>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52" name="Łącznik prosty ze strzałką 51">
            <a:extLst>
              <a:ext uri="{FF2B5EF4-FFF2-40B4-BE49-F238E27FC236}">
                <a16:creationId xmlns:a16="http://schemas.microsoft.com/office/drawing/2014/main" id="{22B324E6-9D98-494E-B876-10CBA4D150C5}"/>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3" name="Łącznik prosty ze strzałką 52">
            <a:extLst>
              <a:ext uri="{FF2B5EF4-FFF2-40B4-BE49-F238E27FC236}">
                <a16:creationId xmlns:a16="http://schemas.microsoft.com/office/drawing/2014/main" id="{2A9AFADA-F9E8-41FE-9548-8B07450186FB}"/>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4" name="Łącznik prosty ze strzałką 53">
            <a:extLst>
              <a:ext uri="{FF2B5EF4-FFF2-40B4-BE49-F238E27FC236}">
                <a16:creationId xmlns:a16="http://schemas.microsoft.com/office/drawing/2014/main" id="{FAB15F1E-8D8F-45CB-B069-62F50009FB40}"/>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5" name="Łącznik prosty ze strzałką 54">
            <a:extLst>
              <a:ext uri="{FF2B5EF4-FFF2-40B4-BE49-F238E27FC236}">
                <a16:creationId xmlns:a16="http://schemas.microsoft.com/office/drawing/2014/main" id="{18B957FE-8EA2-473E-B55C-67E7D3B642A2}"/>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14" name="Dowolny kształt: kształt 13">
            <a:extLst>
              <a:ext uri="{FF2B5EF4-FFF2-40B4-BE49-F238E27FC236}">
                <a16:creationId xmlns:a16="http://schemas.microsoft.com/office/drawing/2014/main" id="{3D55C4D3-B297-4C58-8049-FF1AC16A453B}"/>
              </a:ext>
            </a:extLst>
          </p:cNvPr>
          <p:cNvSpPr/>
          <p:nvPr/>
        </p:nvSpPr>
        <p:spPr>
          <a:xfrm>
            <a:off x="189836" y="312836"/>
            <a:ext cx="7931067" cy="6486400"/>
          </a:xfrm>
          <a:custGeom>
            <a:avLst/>
            <a:gdLst>
              <a:gd name="connsiteX0" fmla="*/ 1753 w 7931067"/>
              <a:gd name="connsiteY0" fmla="*/ 1812055 h 6486400"/>
              <a:gd name="connsiteX1" fmla="*/ 228175 w 7931067"/>
              <a:gd name="connsiteY1" fmla="*/ 767027 h 6486400"/>
              <a:gd name="connsiteX2" fmla="*/ 890027 w 7931067"/>
              <a:gd name="connsiteY2" fmla="*/ 122593 h 6486400"/>
              <a:gd name="connsiteX3" fmla="*/ 2744953 w 7931067"/>
              <a:gd name="connsiteY3" fmla="*/ 35507 h 6486400"/>
              <a:gd name="connsiteX4" fmla="*/ 4190575 w 7931067"/>
              <a:gd name="connsiteY4" fmla="*/ 540604 h 6486400"/>
              <a:gd name="connsiteX5" fmla="*/ 5157227 w 7931067"/>
              <a:gd name="connsiteY5" fmla="*/ 1829473 h 6486400"/>
              <a:gd name="connsiteX6" fmla="*/ 5270438 w 7931067"/>
              <a:gd name="connsiteY6" fmla="*/ 3736650 h 6486400"/>
              <a:gd name="connsiteX7" fmla="*/ 6315467 w 7931067"/>
              <a:gd name="connsiteY7" fmla="*/ 3710524 h 6486400"/>
              <a:gd name="connsiteX8" fmla="*/ 6689935 w 7931067"/>
              <a:gd name="connsiteY8" fmla="*/ 3562478 h 6486400"/>
              <a:gd name="connsiteX9" fmla="*/ 7160198 w 7931067"/>
              <a:gd name="connsiteY9" fmla="*/ 3571187 h 6486400"/>
              <a:gd name="connsiteX10" fmla="*/ 7464998 w 7931067"/>
              <a:gd name="connsiteY10" fmla="*/ 3963073 h 6486400"/>
              <a:gd name="connsiteX11" fmla="*/ 7883010 w 7931067"/>
              <a:gd name="connsiteY11" fmla="*/ 4912307 h 6486400"/>
              <a:gd name="connsiteX12" fmla="*/ 7795924 w 7931067"/>
              <a:gd name="connsiteY12" fmla="*/ 5887667 h 6486400"/>
              <a:gd name="connsiteX13" fmla="*/ 6759604 w 7931067"/>
              <a:gd name="connsiteY13" fmla="*/ 6410181 h 6486400"/>
              <a:gd name="connsiteX14" fmla="*/ 4774050 w 7931067"/>
              <a:gd name="connsiteY14" fmla="*/ 6453724 h 6486400"/>
              <a:gd name="connsiteX15" fmla="*/ 3598393 w 7931067"/>
              <a:gd name="connsiteY15" fmla="*/ 6122798 h 6486400"/>
              <a:gd name="connsiteX16" fmla="*/ 2988793 w 7931067"/>
              <a:gd name="connsiteY16" fmla="*/ 5521907 h 6486400"/>
              <a:gd name="connsiteX17" fmla="*/ 2892998 w 7931067"/>
              <a:gd name="connsiteY17" fmla="*/ 4990684 h 6486400"/>
              <a:gd name="connsiteX18" fmla="*/ 2614324 w 7931067"/>
              <a:gd name="connsiteY18" fmla="*/ 4224330 h 6486400"/>
              <a:gd name="connsiteX19" fmla="*/ 1978598 w 7931067"/>
              <a:gd name="connsiteY19" fmla="*/ 3754067 h 6486400"/>
              <a:gd name="connsiteX20" fmla="*/ 620061 w 7931067"/>
              <a:gd name="connsiteY20" fmla="*/ 2700330 h 6486400"/>
              <a:gd name="connsiteX21" fmla="*/ 149798 w 7931067"/>
              <a:gd name="connsiteY21" fmla="*/ 2125564 h 6486400"/>
              <a:gd name="connsiteX22" fmla="*/ 1753 w 7931067"/>
              <a:gd name="connsiteY22" fmla="*/ 1812055 h 6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31067" h="6486400">
                <a:moveTo>
                  <a:pt x="1753" y="1812055"/>
                </a:moveTo>
                <a:cubicBezTo>
                  <a:pt x="14816" y="1585632"/>
                  <a:pt x="80129" y="1048604"/>
                  <a:pt x="228175" y="767027"/>
                </a:cubicBezTo>
                <a:cubicBezTo>
                  <a:pt x="376221" y="485450"/>
                  <a:pt x="470564" y="244513"/>
                  <a:pt x="890027" y="122593"/>
                </a:cubicBezTo>
                <a:cubicBezTo>
                  <a:pt x="1309490" y="673"/>
                  <a:pt x="2194862" y="-34161"/>
                  <a:pt x="2744953" y="35507"/>
                </a:cubicBezTo>
                <a:cubicBezTo>
                  <a:pt x="3295044" y="105175"/>
                  <a:pt x="3788529" y="241610"/>
                  <a:pt x="4190575" y="540604"/>
                </a:cubicBezTo>
                <a:cubicBezTo>
                  <a:pt x="4592621" y="839598"/>
                  <a:pt x="4977250" y="1296799"/>
                  <a:pt x="5157227" y="1829473"/>
                </a:cubicBezTo>
                <a:cubicBezTo>
                  <a:pt x="5337204" y="2362147"/>
                  <a:pt x="5077398" y="3423142"/>
                  <a:pt x="5270438" y="3736650"/>
                </a:cubicBezTo>
                <a:cubicBezTo>
                  <a:pt x="5463478" y="4050158"/>
                  <a:pt x="6078884" y="3739553"/>
                  <a:pt x="6315467" y="3710524"/>
                </a:cubicBezTo>
                <a:cubicBezTo>
                  <a:pt x="6552050" y="3681495"/>
                  <a:pt x="6549147" y="3585701"/>
                  <a:pt x="6689935" y="3562478"/>
                </a:cubicBezTo>
                <a:cubicBezTo>
                  <a:pt x="6830723" y="3539255"/>
                  <a:pt x="7031021" y="3504421"/>
                  <a:pt x="7160198" y="3571187"/>
                </a:cubicBezTo>
                <a:cubicBezTo>
                  <a:pt x="7289375" y="3637953"/>
                  <a:pt x="7344529" y="3739553"/>
                  <a:pt x="7464998" y="3963073"/>
                </a:cubicBezTo>
                <a:cubicBezTo>
                  <a:pt x="7585467" y="4186593"/>
                  <a:pt x="7827856" y="4591541"/>
                  <a:pt x="7883010" y="4912307"/>
                </a:cubicBezTo>
                <a:cubicBezTo>
                  <a:pt x="7938164" y="5233073"/>
                  <a:pt x="7983158" y="5638021"/>
                  <a:pt x="7795924" y="5887667"/>
                </a:cubicBezTo>
                <a:cubicBezTo>
                  <a:pt x="7608690" y="6137313"/>
                  <a:pt x="7263250" y="6315838"/>
                  <a:pt x="6759604" y="6410181"/>
                </a:cubicBezTo>
                <a:cubicBezTo>
                  <a:pt x="6255958" y="6504524"/>
                  <a:pt x="5300918" y="6501621"/>
                  <a:pt x="4774050" y="6453724"/>
                </a:cubicBezTo>
                <a:cubicBezTo>
                  <a:pt x="4247182" y="6405827"/>
                  <a:pt x="3895936" y="6278101"/>
                  <a:pt x="3598393" y="6122798"/>
                </a:cubicBezTo>
                <a:cubicBezTo>
                  <a:pt x="3300850" y="5967495"/>
                  <a:pt x="3106359" y="5710593"/>
                  <a:pt x="2988793" y="5521907"/>
                </a:cubicBezTo>
                <a:cubicBezTo>
                  <a:pt x="2871227" y="5333221"/>
                  <a:pt x="2955410" y="5206947"/>
                  <a:pt x="2892998" y="4990684"/>
                </a:cubicBezTo>
                <a:cubicBezTo>
                  <a:pt x="2830587" y="4774421"/>
                  <a:pt x="2766724" y="4430433"/>
                  <a:pt x="2614324" y="4224330"/>
                </a:cubicBezTo>
                <a:cubicBezTo>
                  <a:pt x="2461924" y="4018227"/>
                  <a:pt x="2310975" y="4008067"/>
                  <a:pt x="1978598" y="3754067"/>
                </a:cubicBezTo>
                <a:cubicBezTo>
                  <a:pt x="1646221" y="3500067"/>
                  <a:pt x="924861" y="2971747"/>
                  <a:pt x="620061" y="2700330"/>
                </a:cubicBezTo>
                <a:cubicBezTo>
                  <a:pt x="315261" y="2428913"/>
                  <a:pt x="249946" y="2270707"/>
                  <a:pt x="149798" y="2125564"/>
                </a:cubicBezTo>
                <a:cubicBezTo>
                  <a:pt x="49650" y="1980421"/>
                  <a:pt x="-11310" y="2038478"/>
                  <a:pt x="1753" y="1812055"/>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8" name="Obraz 57">
            <a:extLst>
              <a:ext uri="{FF2B5EF4-FFF2-40B4-BE49-F238E27FC236}">
                <a16:creationId xmlns:a16="http://schemas.microsoft.com/office/drawing/2014/main" id="{8E4A6941-F8FB-4653-A6AE-EA168B3DCB61}"/>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59" name="Obraz 58">
            <a:extLst>
              <a:ext uri="{FF2B5EF4-FFF2-40B4-BE49-F238E27FC236}">
                <a16:creationId xmlns:a16="http://schemas.microsoft.com/office/drawing/2014/main" id="{928582DF-1502-4F54-B452-50B4FAE2C541}"/>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15" name="Dowolny kształt: kształt 14">
            <a:extLst>
              <a:ext uri="{FF2B5EF4-FFF2-40B4-BE49-F238E27FC236}">
                <a16:creationId xmlns:a16="http://schemas.microsoft.com/office/drawing/2014/main" id="{4E43945B-1D92-43C8-B7AF-26AB048FFAF3}"/>
              </a:ext>
            </a:extLst>
          </p:cNvPr>
          <p:cNvSpPr/>
          <p:nvPr/>
        </p:nvSpPr>
        <p:spPr>
          <a:xfrm>
            <a:off x="5288432" y="58764"/>
            <a:ext cx="6629218" cy="6398971"/>
          </a:xfrm>
          <a:custGeom>
            <a:avLst/>
            <a:gdLst>
              <a:gd name="connsiteX0" fmla="*/ 1280162 w 6629218"/>
              <a:gd name="connsiteY0" fmla="*/ 2874573 h 6398971"/>
              <a:gd name="connsiteX1" fmla="*/ 731522 w 6629218"/>
              <a:gd name="connsiteY1" fmla="*/ 2831030 h 6398971"/>
              <a:gd name="connsiteX2" fmla="*/ 182882 w 6629218"/>
              <a:gd name="connsiteY2" fmla="*/ 2413019 h 6398971"/>
              <a:gd name="connsiteX3" fmla="*/ 34836 w 6629218"/>
              <a:gd name="connsiteY3" fmla="*/ 1542162 h 6398971"/>
              <a:gd name="connsiteX4" fmla="*/ 775065 w 6629218"/>
              <a:gd name="connsiteY4" fmla="*/ 810642 h 6398971"/>
              <a:gd name="connsiteX5" fmla="*/ 2673533 w 6629218"/>
              <a:gd name="connsiteY5" fmla="*/ 140082 h 6398971"/>
              <a:gd name="connsiteX6" fmla="*/ 3770813 w 6629218"/>
              <a:gd name="connsiteY6" fmla="*/ 9453 h 6398971"/>
              <a:gd name="connsiteX7" fmla="*/ 5059682 w 6629218"/>
              <a:gd name="connsiteY7" fmla="*/ 296836 h 6398971"/>
              <a:gd name="connsiteX8" fmla="*/ 6104710 w 6629218"/>
              <a:gd name="connsiteY8" fmla="*/ 949979 h 6398971"/>
              <a:gd name="connsiteX9" fmla="*/ 6487888 w 6629218"/>
              <a:gd name="connsiteY9" fmla="*/ 1690208 h 6398971"/>
              <a:gd name="connsiteX10" fmla="*/ 6461762 w 6629218"/>
              <a:gd name="connsiteY10" fmla="*/ 2691693 h 6398971"/>
              <a:gd name="connsiteX11" fmla="*/ 6235339 w 6629218"/>
              <a:gd name="connsiteY11" fmla="*/ 3797682 h 6398971"/>
              <a:gd name="connsiteX12" fmla="*/ 6383385 w 6629218"/>
              <a:gd name="connsiteY12" fmla="*/ 4694665 h 6398971"/>
              <a:gd name="connsiteX13" fmla="*/ 6627225 w 6629218"/>
              <a:gd name="connsiteY13" fmla="*/ 5434893 h 6398971"/>
              <a:gd name="connsiteX14" fmla="*/ 6479179 w 6629218"/>
              <a:gd name="connsiteY14" fmla="*/ 5983533 h 6398971"/>
              <a:gd name="connsiteX15" fmla="*/ 6139545 w 6629218"/>
              <a:gd name="connsiteY15" fmla="*/ 6375419 h 6398971"/>
              <a:gd name="connsiteX16" fmla="*/ 5050973 w 6629218"/>
              <a:gd name="connsiteY16" fmla="*/ 6209956 h 6398971"/>
              <a:gd name="connsiteX17" fmla="*/ 3796939 w 6629218"/>
              <a:gd name="connsiteY17" fmla="*/ 5034299 h 6398971"/>
              <a:gd name="connsiteX18" fmla="*/ 3126379 w 6629218"/>
              <a:gd name="connsiteY18" fmla="*/ 2639442 h 6398971"/>
              <a:gd name="connsiteX19" fmla="*/ 1619796 w 6629218"/>
              <a:gd name="connsiteY19" fmla="*/ 2752653 h 6398971"/>
              <a:gd name="connsiteX20" fmla="*/ 1280162 w 6629218"/>
              <a:gd name="connsiteY20" fmla="*/ 2874573 h 639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29218" h="6398971">
                <a:moveTo>
                  <a:pt x="1280162" y="2874573"/>
                </a:moveTo>
                <a:cubicBezTo>
                  <a:pt x="1132116" y="2887636"/>
                  <a:pt x="914402" y="2907956"/>
                  <a:pt x="731522" y="2831030"/>
                </a:cubicBezTo>
                <a:cubicBezTo>
                  <a:pt x="548642" y="2754104"/>
                  <a:pt x="298996" y="2627830"/>
                  <a:pt x="182882" y="2413019"/>
                </a:cubicBezTo>
                <a:cubicBezTo>
                  <a:pt x="66768" y="2198208"/>
                  <a:pt x="-63861" y="1809225"/>
                  <a:pt x="34836" y="1542162"/>
                </a:cubicBezTo>
                <a:cubicBezTo>
                  <a:pt x="133533" y="1275099"/>
                  <a:pt x="335282" y="1044322"/>
                  <a:pt x="775065" y="810642"/>
                </a:cubicBezTo>
                <a:cubicBezTo>
                  <a:pt x="1214848" y="576962"/>
                  <a:pt x="2174242" y="273613"/>
                  <a:pt x="2673533" y="140082"/>
                </a:cubicBezTo>
                <a:cubicBezTo>
                  <a:pt x="3172824" y="6551"/>
                  <a:pt x="3373121" y="-16673"/>
                  <a:pt x="3770813" y="9453"/>
                </a:cubicBezTo>
                <a:cubicBezTo>
                  <a:pt x="4168505" y="35579"/>
                  <a:pt x="4670699" y="140082"/>
                  <a:pt x="5059682" y="296836"/>
                </a:cubicBezTo>
                <a:cubicBezTo>
                  <a:pt x="5448665" y="453590"/>
                  <a:pt x="5866676" y="717750"/>
                  <a:pt x="6104710" y="949979"/>
                </a:cubicBezTo>
                <a:cubicBezTo>
                  <a:pt x="6342744" y="1182208"/>
                  <a:pt x="6428379" y="1399922"/>
                  <a:pt x="6487888" y="1690208"/>
                </a:cubicBezTo>
                <a:cubicBezTo>
                  <a:pt x="6547397" y="1980494"/>
                  <a:pt x="6503854" y="2340447"/>
                  <a:pt x="6461762" y="2691693"/>
                </a:cubicBezTo>
                <a:cubicBezTo>
                  <a:pt x="6419671" y="3042939"/>
                  <a:pt x="6248402" y="3463853"/>
                  <a:pt x="6235339" y="3797682"/>
                </a:cubicBezTo>
                <a:cubicBezTo>
                  <a:pt x="6222276" y="4131511"/>
                  <a:pt x="6318071" y="4421797"/>
                  <a:pt x="6383385" y="4694665"/>
                </a:cubicBezTo>
                <a:cubicBezTo>
                  <a:pt x="6448699" y="4967533"/>
                  <a:pt x="6611259" y="5220082"/>
                  <a:pt x="6627225" y="5434893"/>
                </a:cubicBezTo>
                <a:cubicBezTo>
                  <a:pt x="6643191" y="5649704"/>
                  <a:pt x="6560459" y="5826779"/>
                  <a:pt x="6479179" y="5983533"/>
                </a:cubicBezTo>
                <a:cubicBezTo>
                  <a:pt x="6397899" y="6140287"/>
                  <a:pt x="6377579" y="6337682"/>
                  <a:pt x="6139545" y="6375419"/>
                </a:cubicBezTo>
                <a:cubicBezTo>
                  <a:pt x="5901511" y="6413156"/>
                  <a:pt x="5441407" y="6433476"/>
                  <a:pt x="5050973" y="6209956"/>
                </a:cubicBezTo>
                <a:cubicBezTo>
                  <a:pt x="4660539" y="5986436"/>
                  <a:pt x="4117705" y="5629385"/>
                  <a:pt x="3796939" y="5034299"/>
                </a:cubicBezTo>
                <a:cubicBezTo>
                  <a:pt x="3476173" y="4439213"/>
                  <a:pt x="3489236" y="3019716"/>
                  <a:pt x="3126379" y="2639442"/>
                </a:cubicBezTo>
                <a:cubicBezTo>
                  <a:pt x="2763522" y="2259168"/>
                  <a:pt x="1927499" y="2713465"/>
                  <a:pt x="1619796" y="2752653"/>
                </a:cubicBezTo>
                <a:cubicBezTo>
                  <a:pt x="1312093" y="2791841"/>
                  <a:pt x="1428208" y="2861510"/>
                  <a:pt x="1280162" y="2874573"/>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30479070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46" name="Prostokąt 45">
            <a:extLst>
              <a:ext uri="{FF2B5EF4-FFF2-40B4-BE49-F238E27FC236}">
                <a16:creationId xmlns:a16="http://schemas.microsoft.com/office/drawing/2014/main" id="{99740C7F-4585-40ED-B66E-5AE59B878F2A}"/>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7" name="Prostokąt 46">
            <a:extLst>
              <a:ext uri="{FF2B5EF4-FFF2-40B4-BE49-F238E27FC236}">
                <a16:creationId xmlns:a16="http://schemas.microsoft.com/office/drawing/2014/main" id="{28BC289F-A499-4BF9-889B-04733D50152B}"/>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8" name="Prostokąt 47">
            <a:extLst>
              <a:ext uri="{FF2B5EF4-FFF2-40B4-BE49-F238E27FC236}">
                <a16:creationId xmlns:a16="http://schemas.microsoft.com/office/drawing/2014/main" id="{EBE431DA-52FE-47D2-A6DF-72E4F158DE1A}"/>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9" name="Obraz 48">
            <a:extLst>
              <a:ext uri="{FF2B5EF4-FFF2-40B4-BE49-F238E27FC236}">
                <a16:creationId xmlns:a16="http://schemas.microsoft.com/office/drawing/2014/main" id="{6BC685FF-BD9B-4ED5-B0AF-3D98D64A55A5}"/>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50" name="Obraz 49">
            <a:extLst>
              <a:ext uri="{FF2B5EF4-FFF2-40B4-BE49-F238E27FC236}">
                <a16:creationId xmlns:a16="http://schemas.microsoft.com/office/drawing/2014/main" id="{A2CBFE88-D626-4FDA-ADB4-E79C8BD34FCE}"/>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51" name="Obraz 50">
            <a:extLst>
              <a:ext uri="{FF2B5EF4-FFF2-40B4-BE49-F238E27FC236}">
                <a16:creationId xmlns:a16="http://schemas.microsoft.com/office/drawing/2014/main" id="{859470F5-0DF7-4F6B-98E1-E301E2752946}"/>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52" name="Łącznik prosty ze strzałką 51">
            <a:extLst>
              <a:ext uri="{FF2B5EF4-FFF2-40B4-BE49-F238E27FC236}">
                <a16:creationId xmlns:a16="http://schemas.microsoft.com/office/drawing/2014/main" id="{22B324E6-9D98-494E-B876-10CBA4D150C5}"/>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3" name="Łącznik prosty ze strzałką 52">
            <a:extLst>
              <a:ext uri="{FF2B5EF4-FFF2-40B4-BE49-F238E27FC236}">
                <a16:creationId xmlns:a16="http://schemas.microsoft.com/office/drawing/2014/main" id="{2A9AFADA-F9E8-41FE-9548-8B07450186FB}"/>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4" name="Łącznik prosty ze strzałką 53">
            <a:extLst>
              <a:ext uri="{FF2B5EF4-FFF2-40B4-BE49-F238E27FC236}">
                <a16:creationId xmlns:a16="http://schemas.microsoft.com/office/drawing/2014/main" id="{FAB15F1E-8D8F-45CB-B069-62F50009FB40}"/>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5" name="Łącznik prosty ze strzałką 54">
            <a:extLst>
              <a:ext uri="{FF2B5EF4-FFF2-40B4-BE49-F238E27FC236}">
                <a16:creationId xmlns:a16="http://schemas.microsoft.com/office/drawing/2014/main" id="{18B957FE-8EA2-473E-B55C-67E7D3B642A2}"/>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14" name="Dowolny kształt: kształt 13">
            <a:extLst>
              <a:ext uri="{FF2B5EF4-FFF2-40B4-BE49-F238E27FC236}">
                <a16:creationId xmlns:a16="http://schemas.microsoft.com/office/drawing/2014/main" id="{3D55C4D3-B297-4C58-8049-FF1AC16A453B}"/>
              </a:ext>
            </a:extLst>
          </p:cNvPr>
          <p:cNvSpPr/>
          <p:nvPr/>
        </p:nvSpPr>
        <p:spPr>
          <a:xfrm>
            <a:off x="189836" y="312836"/>
            <a:ext cx="7931067" cy="6486400"/>
          </a:xfrm>
          <a:custGeom>
            <a:avLst/>
            <a:gdLst>
              <a:gd name="connsiteX0" fmla="*/ 1753 w 7931067"/>
              <a:gd name="connsiteY0" fmla="*/ 1812055 h 6486400"/>
              <a:gd name="connsiteX1" fmla="*/ 228175 w 7931067"/>
              <a:gd name="connsiteY1" fmla="*/ 767027 h 6486400"/>
              <a:gd name="connsiteX2" fmla="*/ 890027 w 7931067"/>
              <a:gd name="connsiteY2" fmla="*/ 122593 h 6486400"/>
              <a:gd name="connsiteX3" fmla="*/ 2744953 w 7931067"/>
              <a:gd name="connsiteY3" fmla="*/ 35507 h 6486400"/>
              <a:gd name="connsiteX4" fmla="*/ 4190575 w 7931067"/>
              <a:gd name="connsiteY4" fmla="*/ 540604 h 6486400"/>
              <a:gd name="connsiteX5" fmla="*/ 5157227 w 7931067"/>
              <a:gd name="connsiteY5" fmla="*/ 1829473 h 6486400"/>
              <a:gd name="connsiteX6" fmla="*/ 5270438 w 7931067"/>
              <a:gd name="connsiteY6" fmla="*/ 3736650 h 6486400"/>
              <a:gd name="connsiteX7" fmla="*/ 6315467 w 7931067"/>
              <a:gd name="connsiteY7" fmla="*/ 3710524 h 6486400"/>
              <a:gd name="connsiteX8" fmla="*/ 6689935 w 7931067"/>
              <a:gd name="connsiteY8" fmla="*/ 3562478 h 6486400"/>
              <a:gd name="connsiteX9" fmla="*/ 7160198 w 7931067"/>
              <a:gd name="connsiteY9" fmla="*/ 3571187 h 6486400"/>
              <a:gd name="connsiteX10" fmla="*/ 7464998 w 7931067"/>
              <a:gd name="connsiteY10" fmla="*/ 3963073 h 6486400"/>
              <a:gd name="connsiteX11" fmla="*/ 7883010 w 7931067"/>
              <a:gd name="connsiteY11" fmla="*/ 4912307 h 6486400"/>
              <a:gd name="connsiteX12" fmla="*/ 7795924 w 7931067"/>
              <a:gd name="connsiteY12" fmla="*/ 5887667 h 6486400"/>
              <a:gd name="connsiteX13" fmla="*/ 6759604 w 7931067"/>
              <a:gd name="connsiteY13" fmla="*/ 6410181 h 6486400"/>
              <a:gd name="connsiteX14" fmla="*/ 4774050 w 7931067"/>
              <a:gd name="connsiteY14" fmla="*/ 6453724 h 6486400"/>
              <a:gd name="connsiteX15" fmla="*/ 3598393 w 7931067"/>
              <a:gd name="connsiteY15" fmla="*/ 6122798 h 6486400"/>
              <a:gd name="connsiteX16" fmla="*/ 2988793 w 7931067"/>
              <a:gd name="connsiteY16" fmla="*/ 5521907 h 6486400"/>
              <a:gd name="connsiteX17" fmla="*/ 2892998 w 7931067"/>
              <a:gd name="connsiteY17" fmla="*/ 4990684 h 6486400"/>
              <a:gd name="connsiteX18" fmla="*/ 2614324 w 7931067"/>
              <a:gd name="connsiteY18" fmla="*/ 4224330 h 6486400"/>
              <a:gd name="connsiteX19" fmla="*/ 1978598 w 7931067"/>
              <a:gd name="connsiteY19" fmla="*/ 3754067 h 6486400"/>
              <a:gd name="connsiteX20" fmla="*/ 620061 w 7931067"/>
              <a:gd name="connsiteY20" fmla="*/ 2700330 h 6486400"/>
              <a:gd name="connsiteX21" fmla="*/ 149798 w 7931067"/>
              <a:gd name="connsiteY21" fmla="*/ 2125564 h 6486400"/>
              <a:gd name="connsiteX22" fmla="*/ 1753 w 7931067"/>
              <a:gd name="connsiteY22" fmla="*/ 1812055 h 6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31067" h="6486400">
                <a:moveTo>
                  <a:pt x="1753" y="1812055"/>
                </a:moveTo>
                <a:cubicBezTo>
                  <a:pt x="14816" y="1585632"/>
                  <a:pt x="80129" y="1048604"/>
                  <a:pt x="228175" y="767027"/>
                </a:cubicBezTo>
                <a:cubicBezTo>
                  <a:pt x="376221" y="485450"/>
                  <a:pt x="470564" y="244513"/>
                  <a:pt x="890027" y="122593"/>
                </a:cubicBezTo>
                <a:cubicBezTo>
                  <a:pt x="1309490" y="673"/>
                  <a:pt x="2194862" y="-34161"/>
                  <a:pt x="2744953" y="35507"/>
                </a:cubicBezTo>
                <a:cubicBezTo>
                  <a:pt x="3295044" y="105175"/>
                  <a:pt x="3788529" y="241610"/>
                  <a:pt x="4190575" y="540604"/>
                </a:cubicBezTo>
                <a:cubicBezTo>
                  <a:pt x="4592621" y="839598"/>
                  <a:pt x="4977250" y="1296799"/>
                  <a:pt x="5157227" y="1829473"/>
                </a:cubicBezTo>
                <a:cubicBezTo>
                  <a:pt x="5337204" y="2362147"/>
                  <a:pt x="5077398" y="3423142"/>
                  <a:pt x="5270438" y="3736650"/>
                </a:cubicBezTo>
                <a:cubicBezTo>
                  <a:pt x="5463478" y="4050158"/>
                  <a:pt x="6078884" y="3739553"/>
                  <a:pt x="6315467" y="3710524"/>
                </a:cubicBezTo>
                <a:cubicBezTo>
                  <a:pt x="6552050" y="3681495"/>
                  <a:pt x="6549147" y="3585701"/>
                  <a:pt x="6689935" y="3562478"/>
                </a:cubicBezTo>
                <a:cubicBezTo>
                  <a:pt x="6830723" y="3539255"/>
                  <a:pt x="7031021" y="3504421"/>
                  <a:pt x="7160198" y="3571187"/>
                </a:cubicBezTo>
                <a:cubicBezTo>
                  <a:pt x="7289375" y="3637953"/>
                  <a:pt x="7344529" y="3739553"/>
                  <a:pt x="7464998" y="3963073"/>
                </a:cubicBezTo>
                <a:cubicBezTo>
                  <a:pt x="7585467" y="4186593"/>
                  <a:pt x="7827856" y="4591541"/>
                  <a:pt x="7883010" y="4912307"/>
                </a:cubicBezTo>
                <a:cubicBezTo>
                  <a:pt x="7938164" y="5233073"/>
                  <a:pt x="7983158" y="5638021"/>
                  <a:pt x="7795924" y="5887667"/>
                </a:cubicBezTo>
                <a:cubicBezTo>
                  <a:pt x="7608690" y="6137313"/>
                  <a:pt x="7263250" y="6315838"/>
                  <a:pt x="6759604" y="6410181"/>
                </a:cubicBezTo>
                <a:cubicBezTo>
                  <a:pt x="6255958" y="6504524"/>
                  <a:pt x="5300918" y="6501621"/>
                  <a:pt x="4774050" y="6453724"/>
                </a:cubicBezTo>
                <a:cubicBezTo>
                  <a:pt x="4247182" y="6405827"/>
                  <a:pt x="3895936" y="6278101"/>
                  <a:pt x="3598393" y="6122798"/>
                </a:cubicBezTo>
                <a:cubicBezTo>
                  <a:pt x="3300850" y="5967495"/>
                  <a:pt x="3106359" y="5710593"/>
                  <a:pt x="2988793" y="5521907"/>
                </a:cubicBezTo>
                <a:cubicBezTo>
                  <a:pt x="2871227" y="5333221"/>
                  <a:pt x="2955410" y="5206947"/>
                  <a:pt x="2892998" y="4990684"/>
                </a:cubicBezTo>
                <a:cubicBezTo>
                  <a:pt x="2830587" y="4774421"/>
                  <a:pt x="2766724" y="4430433"/>
                  <a:pt x="2614324" y="4224330"/>
                </a:cubicBezTo>
                <a:cubicBezTo>
                  <a:pt x="2461924" y="4018227"/>
                  <a:pt x="2310975" y="4008067"/>
                  <a:pt x="1978598" y="3754067"/>
                </a:cubicBezTo>
                <a:cubicBezTo>
                  <a:pt x="1646221" y="3500067"/>
                  <a:pt x="924861" y="2971747"/>
                  <a:pt x="620061" y="2700330"/>
                </a:cubicBezTo>
                <a:cubicBezTo>
                  <a:pt x="315261" y="2428913"/>
                  <a:pt x="249946" y="2270707"/>
                  <a:pt x="149798" y="2125564"/>
                </a:cubicBezTo>
                <a:cubicBezTo>
                  <a:pt x="49650" y="1980421"/>
                  <a:pt x="-11310" y="2038478"/>
                  <a:pt x="1753" y="1812055"/>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8" name="Obraz 57">
            <a:extLst>
              <a:ext uri="{FF2B5EF4-FFF2-40B4-BE49-F238E27FC236}">
                <a16:creationId xmlns:a16="http://schemas.microsoft.com/office/drawing/2014/main" id="{8E4A6941-F8FB-4653-A6AE-EA168B3DCB61}"/>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59" name="Obraz 58">
            <a:extLst>
              <a:ext uri="{FF2B5EF4-FFF2-40B4-BE49-F238E27FC236}">
                <a16:creationId xmlns:a16="http://schemas.microsoft.com/office/drawing/2014/main" id="{928582DF-1502-4F54-B452-50B4FAE2C541}"/>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15" name="Dowolny kształt: kształt 14">
            <a:extLst>
              <a:ext uri="{FF2B5EF4-FFF2-40B4-BE49-F238E27FC236}">
                <a16:creationId xmlns:a16="http://schemas.microsoft.com/office/drawing/2014/main" id="{4E43945B-1D92-43C8-B7AF-26AB048FFAF3}"/>
              </a:ext>
            </a:extLst>
          </p:cNvPr>
          <p:cNvSpPr/>
          <p:nvPr/>
        </p:nvSpPr>
        <p:spPr>
          <a:xfrm>
            <a:off x="5288432" y="58764"/>
            <a:ext cx="6629218" cy="6398971"/>
          </a:xfrm>
          <a:custGeom>
            <a:avLst/>
            <a:gdLst>
              <a:gd name="connsiteX0" fmla="*/ 1280162 w 6629218"/>
              <a:gd name="connsiteY0" fmla="*/ 2874573 h 6398971"/>
              <a:gd name="connsiteX1" fmla="*/ 731522 w 6629218"/>
              <a:gd name="connsiteY1" fmla="*/ 2831030 h 6398971"/>
              <a:gd name="connsiteX2" fmla="*/ 182882 w 6629218"/>
              <a:gd name="connsiteY2" fmla="*/ 2413019 h 6398971"/>
              <a:gd name="connsiteX3" fmla="*/ 34836 w 6629218"/>
              <a:gd name="connsiteY3" fmla="*/ 1542162 h 6398971"/>
              <a:gd name="connsiteX4" fmla="*/ 775065 w 6629218"/>
              <a:gd name="connsiteY4" fmla="*/ 810642 h 6398971"/>
              <a:gd name="connsiteX5" fmla="*/ 2673533 w 6629218"/>
              <a:gd name="connsiteY5" fmla="*/ 140082 h 6398971"/>
              <a:gd name="connsiteX6" fmla="*/ 3770813 w 6629218"/>
              <a:gd name="connsiteY6" fmla="*/ 9453 h 6398971"/>
              <a:gd name="connsiteX7" fmla="*/ 5059682 w 6629218"/>
              <a:gd name="connsiteY7" fmla="*/ 296836 h 6398971"/>
              <a:gd name="connsiteX8" fmla="*/ 6104710 w 6629218"/>
              <a:gd name="connsiteY8" fmla="*/ 949979 h 6398971"/>
              <a:gd name="connsiteX9" fmla="*/ 6487888 w 6629218"/>
              <a:gd name="connsiteY9" fmla="*/ 1690208 h 6398971"/>
              <a:gd name="connsiteX10" fmla="*/ 6461762 w 6629218"/>
              <a:gd name="connsiteY10" fmla="*/ 2691693 h 6398971"/>
              <a:gd name="connsiteX11" fmla="*/ 6235339 w 6629218"/>
              <a:gd name="connsiteY11" fmla="*/ 3797682 h 6398971"/>
              <a:gd name="connsiteX12" fmla="*/ 6383385 w 6629218"/>
              <a:gd name="connsiteY12" fmla="*/ 4694665 h 6398971"/>
              <a:gd name="connsiteX13" fmla="*/ 6627225 w 6629218"/>
              <a:gd name="connsiteY13" fmla="*/ 5434893 h 6398971"/>
              <a:gd name="connsiteX14" fmla="*/ 6479179 w 6629218"/>
              <a:gd name="connsiteY14" fmla="*/ 5983533 h 6398971"/>
              <a:gd name="connsiteX15" fmla="*/ 6139545 w 6629218"/>
              <a:gd name="connsiteY15" fmla="*/ 6375419 h 6398971"/>
              <a:gd name="connsiteX16" fmla="*/ 5050973 w 6629218"/>
              <a:gd name="connsiteY16" fmla="*/ 6209956 h 6398971"/>
              <a:gd name="connsiteX17" fmla="*/ 3796939 w 6629218"/>
              <a:gd name="connsiteY17" fmla="*/ 5034299 h 6398971"/>
              <a:gd name="connsiteX18" fmla="*/ 3126379 w 6629218"/>
              <a:gd name="connsiteY18" fmla="*/ 2639442 h 6398971"/>
              <a:gd name="connsiteX19" fmla="*/ 1619796 w 6629218"/>
              <a:gd name="connsiteY19" fmla="*/ 2752653 h 6398971"/>
              <a:gd name="connsiteX20" fmla="*/ 1280162 w 6629218"/>
              <a:gd name="connsiteY20" fmla="*/ 2874573 h 639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29218" h="6398971">
                <a:moveTo>
                  <a:pt x="1280162" y="2874573"/>
                </a:moveTo>
                <a:cubicBezTo>
                  <a:pt x="1132116" y="2887636"/>
                  <a:pt x="914402" y="2907956"/>
                  <a:pt x="731522" y="2831030"/>
                </a:cubicBezTo>
                <a:cubicBezTo>
                  <a:pt x="548642" y="2754104"/>
                  <a:pt x="298996" y="2627830"/>
                  <a:pt x="182882" y="2413019"/>
                </a:cubicBezTo>
                <a:cubicBezTo>
                  <a:pt x="66768" y="2198208"/>
                  <a:pt x="-63861" y="1809225"/>
                  <a:pt x="34836" y="1542162"/>
                </a:cubicBezTo>
                <a:cubicBezTo>
                  <a:pt x="133533" y="1275099"/>
                  <a:pt x="335282" y="1044322"/>
                  <a:pt x="775065" y="810642"/>
                </a:cubicBezTo>
                <a:cubicBezTo>
                  <a:pt x="1214848" y="576962"/>
                  <a:pt x="2174242" y="273613"/>
                  <a:pt x="2673533" y="140082"/>
                </a:cubicBezTo>
                <a:cubicBezTo>
                  <a:pt x="3172824" y="6551"/>
                  <a:pt x="3373121" y="-16673"/>
                  <a:pt x="3770813" y="9453"/>
                </a:cubicBezTo>
                <a:cubicBezTo>
                  <a:pt x="4168505" y="35579"/>
                  <a:pt x="4670699" y="140082"/>
                  <a:pt x="5059682" y="296836"/>
                </a:cubicBezTo>
                <a:cubicBezTo>
                  <a:pt x="5448665" y="453590"/>
                  <a:pt x="5866676" y="717750"/>
                  <a:pt x="6104710" y="949979"/>
                </a:cubicBezTo>
                <a:cubicBezTo>
                  <a:pt x="6342744" y="1182208"/>
                  <a:pt x="6428379" y="1399922"/>
                  <a:pt x="6487888" y="1690208"/>
                </a:cubicBezTo>
                <a:cubicBezTo>
                  <a:pt x="6547397" y="1980494"/>
                  <a:pt x="6503854" y="2340447"/>
                  <a:pt x="6461762" y="2691693"/>
                </a:cubicBezTo>
                <a:cubicBezTo>
                  <a:pt x="6419671" y="3042939"/>
                  <a:pt x="6248402" y="3463853"/>
                  <a:pt x="6235339" y="3797682"/>
                </a:cubicBezTo>
                <a:cubicBezTo>
                  <a:pt x="6222276" y="4131511"/>
                  <a:pt x="6318071" y="4421797"/>
                  <a:pt x="6383385" y="4694665"/>
                </a:cubicBezTo>
                <a:cubicBezTo>
                  <a:pt x="6448699" y="4967533"/>
                  <a:pt x="6611259" y="5220082"/>
                  <a:pt x="6627225" y="5434893"/>
                </a:cubicBezTo>
                <a:cubicBezTo>
                  <a:pt x="6643191" y="5649704"/>
                  <a:pt x="6560459" y="5826779"/>
                  <a:pt x="6479179" y="5983533"/>
                </a:cubicBezTo>
                <a:cubicBezTo>
                  <a:pt x="6397899" y="6140287"/>
                  <a:pt x="6377579" y="6337682"/>
                  <a:pt x="6139545" y="6375419"/>
                </a:cubicBezTo>
                <a:cubicBezTo>
                  <a:pt x="5901511" y="6413156"/>
                  <a:pt x="5441407" y="6433476"/>
                  <a:pt x="5050973" y="6209956"/>
                </a:cubicBezTo>
                <a:cubicBezTo>
                  <a:pt x="4660539" y="5986436"/>
                  <a:pt x="4117705" y="5629385"/>
                  <a:pt x="3796939" y="5034299"/>
                </a:cubicBezTo>
                <a:cubicBezTo>
                  <a:pt x="3476173" y="4439213"/>
                  <a:pt x="3489236" y="3019716"/>
                  <a:pt x="3126379" y="2639442"/>
                </a:cubicBezTo>
                <a:cubicBezTo>
                  <a:pt x="2763522" y="2259168"/>
                  <a:pt x="1927499" y="2713465"/>
                  <a:pt x="1619796" y="2752653"/>
                </a:cubicBezTo>
                <a:cubicBezTo>
                  <a:pt x="1312093" y="2791841"/>
                  <a:pt x="1428208" y="2861510"/>
                  <a:pt x="1280162" y="2874573"/>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6" name="pole tekstowe 55">
            <a:extLst>
              <a:ext uri="{FF2B5EF4-FFF2-40B4-BE49-F238E27FC236}">
                <a16:creationId xmlns:a16="http://schemas.microsoft.com/office/drawing/2014/main" id="{DBB64B07-26DE-485F-BD6E-24C8B7253814}"/>
              </a:ext>
            </a:extLst>
          </p:cNvPr>
          <p:cNvSpPr txBox="1"/>
          <p:nvPr/>
        </p:nvSpPr>
        <p:spPr>
          <a:xfrm>
            <a:off x="6830215" y="2484264"/>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Generic components</a:t>
            </a:r>
          </a:p>
        </p:txBody>
      </p:sp>
      <p:sp>
        <p:nvSpPr>
          <p:cNvPr id="57" name="pole tekstowe 56">
            <a:extLst>
              <a:ext uri="{FF2B5EF4-FFF2-40B4-BE49-F238E27FC236}">
                <a16:creationId xmlns:a16="http://schemas.microsoft.com/office/drawing/2014/main" id="{73F8F713-1B54-43C1-AF92-F45576586076}"/>
              </a:ext>
            </a:extLst>
          </p:cNvPr>
          <p:cNvSpPr txBox="1"/>
          <p:nvPr/>
        </p:nvSpPr>
        <p:spPr>
          <a:xfrm>
            <a:off x="7330264" y="3128891"/>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Attribute splatting</a:t>
            </a:r>
          </a:p>
        </p:txBody>
      </p:sp>
      <p:sp>
        <p:nvSpPr>
          <p:cNvPr id="60" name="pole tekstowe 59">
            <a:extLst>
              <a:ext uri="{FF2B5EF4-FFF2-40B4-BE49-F238E27FC236}">
                <a16:creationId xmlns:a16="http://schemas.microsoft.com/office/drawing/2014/main" id="{DA1D301E-AA15-4B4A-8746-FC8D411E0C6F}"/>
              </a:ext>
            </a:extLst>
          </p:cNvPr>
          <p:cNvSpPr txBox="1"/>
          <p:nvPr/>
        </p:nvSpPr>
        <p:spPr>
          <a:xfrm>
            <a:off x="7762264" y="3771814"/>
            <a:ext cx="3596049" cy="369332"/>
          </a:xfrm>
          <a:prstGeom prst="rect">
            <a:avLst/>
          </a:prstGeom>
          <a:noFill/>
        </p:spPr>
        <p:txBody>
          <a:bodyPr wrap="square" rtlCol="0">
            <a:spAutoFit/>
          </a:bodyPr>
          <a:lstStyle/>
          <a:p>
            <a:pPr marL="285750" indent="-285750">
              <a:buBlip>
                <a:blip r:embed="rId15"/>
              </a:buBlip>
            </a:pPr>
            <a:r>
              <a:rPr lang="en-US" dirty="0" err="1">
                <a:solidFill>
                  <a:srgbClr val="5C2D91"/>
                </a:solidFill>
                <a:latin typeface="Ubuntu" panose="020B0804030602030204" pitchFamily="34" charset="0"/>
              </a:rPr>
              <a:t>EditForm</a:t>
            </a:r>
            <a:r>
              <a:rPr lang="en-US" dirty="0">
                <a:solidFill>
                  <a:srgbClr val="5C2D91"/>
                </a:solidFill>
                <a:latin typeface="Ubuntu" panose="020B0804030602030204" pitchFamily="34" charset="0"/>
              </a:rPr>
              <a:t> events</a:t>
            </a:r>
          </a:p>
        </p:txBody>
      </p:sp>
      <p:sp>
        <p:nvSpPr>
          <p:cNvPr id="61" name="pole tekstowe 60">
            <a:extLst>
              <a:ext uri="{FF2B5EF4-FFF2-40B4-BE49-F238E27FC236}">
                <a16:creationId xmlns:a16="http://schemas.microsoft.com/office/drawing/2014/main" id="{CC76A4AD-DE86-4B3D-B853-7B9F1DB407FA}"/>
              </a:ext>
            </a:extLst>
          </p:cNvPr>
          <p:cNvSpPr txBox="1"/>
          <p:nvPr/>
        </p:nvSpPr>
        <p:spPr>
          <a:xfrm>
            <a:off x="8233465" y="4414737"/>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Disposing component</a:t>
            </a:r>
          </a:p>
        </p:txBody>
      </p:sp>
      <p:sp>
        <p:nvSpPr>
          <p:cNvPr id="62" name="pole tekstowe 61">
            <a:extLst>
              <a:ext uri="{FF2B5EF4-FFF2-40B4-BE49-F238E27FC236}">
                <a16:creationId xmlns:a16="http://schemas.microsoft.com/office/drawing/2014/main" id="{29179D3F-AE7A-404A-B389-C8302B5EED03}"/>
              </a:ext>
            </a:extLst>
          </p:cNvPr>
          <p:cNvSpPr txBox="1"/>
          <p:nvPr/>
        </p:nvSpPr>
        <p:spPr>
          <a:xfrm>
            <a:off x="498959" y="979129"/>
            <a:ext cx="3993485"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Built-in validation attributes</a:t>
            </a:r>
          </a:p>
        </p:txBody>
      </p:sp>
      <p:sp>
        <p:nvSpPr>
          <p:cNvPr id="63" name="pole tekstowe 62">
            <a:extLst>
              <a:ext uri="{FF2B5EF4-FFF2-40B4-BE49-F238E27FC236}">
                <a16:creationId xmlns:a16="http://schemas.microsoft.com/office/drawing/2014/main" id="{4355947A-3B24-48D1-B607-9FE0DE0C5F69}"/>
              </a:ext>
            </a:extLst>
          </p:cNvPr>
          <p:cNvSpPr txBox="1"/>
          <p:nvPr/>
        </p:nvSpPr>
        <p:spPr>
          <a:xfrm>
            <a:off x="999008" y="1623756"/>
            <a:ext cx="3913263"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Custom validation attributes</a:t>
            </a:r>
          </a:p>
        </p:txBody>
      </p:sp>
      <p:sp>
        <p:nvSpPr>
          <p:cNvPr id="64" name="pole tekstowe 63">
            <a:extLst>
              <a:ext uri="{FF2B5EF4-FFF2-40B4-BE49-F238E27FC236}">
                <a16:creationId xmlns:a16="http://schemas.microsoft.com/office/drawing/2014/main" id="{CCAA32E5-48E1-451D-A17F-1E06A27FD454}"/>
              </a:ext>
            </a:extLst>
          </p:cNvPr>
          <p:cNvSpPr txBox="1"/>
          <p:nvPr/>
        </p:nvSpPr>
        <p:spPr>
          <a:xfrm>
            <a:off x="1431008" y="2266679"/>
            <a:ext cx="3908991"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Validation built-in components</a:t>
            </a:r>
          </a:p>
        </p:txBody>
      </p:sp>
      <p:sp>
        <p:nvSpPr>
          <p:cNvPr id="65" name="pole tekstowe 64">
            <a:extLst>
              <a:ext uri="{FF2B5EF4-FFF2-40B4-BE49-F238E27FC236}">
                <a16:creationId xmlns:a16="http://schemas.microsoft.com/office/drawing/2014/main" id="{9B7D702A-1B1C-4169-96A7-D546C12D3159}"/>
              </a:ext>
            </a:extLst>
          </p:cNvPr>
          <p:cNvSpPr txBox="1"/>
          <p:nvPr/>
        </p:nvSpPr>
        <p:spPr>
          <a:xfrm>
            <a:off x="1902209" y="2909602"/>
            <a:ext cx="3975404"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Extending built-in components</a:t>
            </a:r>
          </a:p>
        </p:txBody>
      </p:sp>
      <p:sp>
        <p:nvSpPr>
          <p:cNvPr id="67" name="pole tekstowe 66">
            <a:extLst>
              <a:ext uri="{FF2B5EF4-FFF2-40B4-BE49-F238E27FC236}">
                <a16:creationId xmlns:a16="http://schemas.microsoft.com/office/drawing/2014/main" id="{7C64BC5C-A114-4B93-AE2C-884B6BFE63E8}"/>
              </a:ext>
            </a:extLst>
          </p:cNvPr>
          <p:cNvSpPr txBox="1"/>
          <p:nvPr/>
        </p:nvSpPr>
        <p:spPr>
          <a:xfrm>
            <a:off x="8520284" y="5061255"/>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Directive attributes</a:t>
            </a:r>
          </a:p>
        </p:txBody>
      </p:sp>
    </p:spTree>
    <p:extLst>
      <p:ext uri="{BB962C8B-B14F-4D97-AF65-F5344CB8AC3E}">
        <p14:creationId xmlns:p14="http://schemas.microsoft.com/office/powerpoint/2010/main" val="2158782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raz 4">
            <a:extLst>
              <a:ext uri="{FF2B5EF4-FFF2-40B4-BE49-F238E27FC236}">
                <a16:creationId xmlns:a16="http://schemas.microsoft.com/office/drawing/2014/main" id="{5C2DC28A-2189-4988-87A8-F3D2FB282F9A}"/>
              </a:ext>
            </a:extLst>
          </p:cNvPr>
          <p:cNvPicPr>
            <a:picLocks noChangeAspect="1"/>
          </p:cNvPicPr>
          <p:nvPr/>
        </p:nvPicPr>
        <p:blipFill>
          <a:blip r:embed="rId3">
            <a:clrChange>
              <a:clrFrom>
                <a:srgbClr val="ECECEC"/>
              </a:clrFrom>
              <a:clrTo>
                <a:srgbClr val="ECECEC">
                  <a:alpha val="0"/>
                </a:srgbClr>
              </a:clrTo>
            </a:clrChange>
          </a:blip>
          <a:stretch>
            <a:fillRect/>
          </a:stretch>
        </p:blipFill>
        <p:spPr>
          <a:xfrm>
            <a:off x="7032000" y="4293000"/>
            <a:ext cx="2314575" cy="2314575"/>
          </a:xfrm>
          <a:prstGeom prst="rect">
            <a:avLst/>
          </a:prstGeom>
        </p:spPr>
      </p:pic>
      <p:pic>
        <p:nvPicPr>
          <p:cNvPr id="3" name="Obraz 2">
            <a:extLst>
              <a:ext uri="{FF2B5EF4-FFF2-40B4-BE49-F238E27FC236}">
                <a16:creationId xmlns:a16="http://schemas.microsoft.com/office/drawing/2014/main" id="{B6E87C14-135D-4F34-A590-739486811324}"/>
              </a:ext>
            </a:extLst>
          </p:cNvPr>
          <p:cNvPicPr>
            <a:picLocks noChangeAspect="1"/>
          </p:cNvPicPr>
          <p:nvPr/>
        </p:nvPicPr>
        <p:blipFill>
          <a:blip r:embed="rId4"/>
          <a:stretch>
            <a:fillRect/>
          </a:stretch>
        </p:blipFill>
        <p:spPr>
          <a:xfrm>
            <a:off x="235059" y="4293000"/>
            <a:ext cx="2219325" cy="2219325"/>
          </a:xfrm>
          <a:prstGeom prst="rect">
            <a:avLst/>
          </a:prstGeom>
        </p:spPr>
      </p:pic>
      <p:sp>
        <p:nvSpPr>
          <p:cNvPr id="13" name="Title 12"/>
          <p:cNvSpPr>
            <a:spLocks noGrp="1"/>
          </p:cNvSpPr>
          <p:nvPr>
            <p:ph type="title"/>
          </p:nvPr>
        </p:nvSpPr>
        <p:spPr>
          <a:xfrm>
            <a:off x="315578" y="981000"/>
            <a:ext cx="5636422" cy="1785257"/>
          </a:xfrm>
        </p:spPr>
        <p:txBody>
          <a:bodyPr/>
          <a:lstStyle/>
          <a:p>
            <a:pPr algn="ctr"/>
            <a:r>
              <a:rPr lang="pl-PL" sz="4000" dirty="0">
                <a:latin typeface="Ubuntu" panose="020B0804030602030204" pitchFamily="34" charset="0"/>
              </a:rPr>
              <a:t>Demo #0</a:t>
            </a:r>
            <a:r>
              <a:rPr lang="en-US" sz="4000" dirty="0">
                <a:latin typeface="Ubuntu" panose="020B0804030602030204" pitchFamily="34" charset="0"/>
              </a:rPr>
              <a:t>9</a:t>
            </a:r>
            <a:endParaRPr lang="en-GB" sz="4000" dirty="0">
              <a:latin typeface="Ubuntu" panose="020B0804030602030204" pitchFamily="34" charset="0"/>
            </a:endParaRPr>
          </a:p>
        </p:txBody>
      </p:sp>
      <p:grpSp>
        <p:nvGrpSpPr>
          <p:cNvPr id="14" name="Groupe 746">
            <a:extLst>
              <a:ext uri="{FF2B5EF4-FFF2-40B4-BE49-F238E27FC236}">
                <a16:creationId xmlns:a16="http://schemas.microsoft.com/office/drawing/2014/main" id="{2DDC2D0F-131D-462B-8800-293C2F0700C4}"/>
              </a:ext>
            </a:extLst>
          </p:cNvPr>
          <p:cNvGrpSpPr/>
          <p:nvPr/>
        </p:nvGrpSpPr>
        <p:grpSpPr>
          <a:xfrm>
            <a:off x="1341862" y="1365456"/>
            <a:ext cx="339802" cy="340990"/>
            <a:chOff x="3484563" y="500062"/>
            <a:chExt cx="454025" cy="455613"/>
          </a:xfrm>
          <a:solidFill>
            <a:srgbClr val="2B0A3D"/>
          </a:solidFill>
        </p:grpSpPr>
        <p:sp>
          <p:nvSpPr>
            <p:cNvPr id="15" name="Freeform 325">
              <a:extLst>
                <a:ext uri="{FF2B5EF4-FFF2-40B4-BE49-F238E27FC236}">
                  <a16:creationId xmlns:a16="http://schemas.microsoft.com/office/drawing/2014/main" id="{6711C020-669A-4F62-BADC-F53B82536AB8}"/>
                </a:ext>
              </a:extLst>
            </p:cNvPr>
            <p:cNvSpPr>
              <a:spLocks/>
            </p:cNvSpPr>
            <p:nvPr/>
          </p:nvSpPr>
          <p:spPr bwMode="auto">
            <a:xfrm>
              <a:off x="3592513" y="500062"/>
              <a:ext cx="225425" cy="309563"/>
            </a:xfrm>
            <a:custGeom>
              <a:avLst/>
              <a:gdLst>
                <a:gd name="T0" fmla="*/ 30 w 60"/>
                <a:gd name="T1" fmla="*/ 82 h 82"/>
                <a:gd name="T2" fmla="*/ 60 w 60"/>
                <a:gd name="T3" fmla="*/ 47 h 82"/>
                <a:gd name="T4" fmla="*/ 42 w 60"/>
                <a:gd name="T5" fmla="*/ 47 h 82"/>
                <a:gd name="T6" fmla="*/ 49 w 60"/>
                <a:gd name="T7" fmla="*/ 0 h 82"/>
                <a:gd name="T8" fmla="*/ 7 w 60"/>
                <a:gd name="T9" fmla="*/ 0 h 82"/>
                <a:gd name="T10" fmla="*/ 19 w 60"/>
                <a:gd name="T11" fmla="*/ 46 h 82"/>
                <a:gd name="T12" fmla="*/ 0 w 60"/>
                <a:gd name="T13" fmla="*/ 46 h 82"/>
                <a:gd name="T14" fmla="*/ 30 w 60"/>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82">
                  <a:moveTo>
                    <a:pt x="30" y="82"/>
                  </a:moveTo>
                  <a:cubicBezTo>
                    <a:pt x="56" y="52"/>
                    <a:pt x="60" y="47"/>
                    <a:pt x="60" y="47"/>
                  </a:cubicBezTo>
                  <a:cubicBezTo>
                    <a:pt x="42" y="47"/>
                    <a:pt x="42" y="47"/>
                    <a:pt x="42" y="47"/>
                  </a:cubicBezTo>
                  <a:cubicBezTo>
                    <a:pt x="46" y="11"/>
                    <a:pt x="49" y="0"/>
                    <a:pt x="49" y="0"/>
                  </a:cubicBezTo>
                  <a:cubicBezTo>
                    <a:pt x="23" y="13"/>
                    <a:pt x="7" y="0"/>
                    <a:pt x="7" y="0"/>
                  </a:cubicBezTo>
                  <a:cubicBezTo>
                    <a:pt x="16" y="30"/>
                    <a:pt x="19" y="46"/>
                    <a:pt x="19" y="46"/>
                  </a:cubicBezTo>
                  <a:cubicBezTo>
                    <a:pt x="0" y="46"/>
                    <a:pt x="0" y="46"/>
                    <a:pt x="0" y="46"/>
                  </a:cubicBezTo>
                  <a:lnTo>
                    <a:pt x="30"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26">
              <a:extLst>
                <a:ext uri="{FF2B5EF4-FFF2-40B4-BE49-F238E27FC236}">
                  <a16:creationId xmlns:a16="http://schemas.microsoft.com/office/drawing/2014/main" id="{0DA36B1D-64B8-4A04-8FA3-A4B31FB30ED7}"/>
                </a:ext>
              </a:extLst>
            </p:cNvPr>
            <p:cNvSpPr>
              <a:spLocks/>
            </p:cNvSpPr>
            <p:nvPr/>
          </p:nvSpPr>
          <p:spPr bwMode="auto">
            <a:xfrm>
              <a:off x="3484563" y="801687"/>
              <a:ext cx="454025" cy="153988"/>
            </a:xfrm>
            <a:custGeom>
              <a:avLst/>
              <a:gdLst>
                <a:gd name="T0" fmla="*/ 115 w 121"/>
                <a:gd name="T1" fmla="*/ 0 h 41"/>
                <a:gd name="T2" fmla="*/ 100 w 121"/>
                <a:gd name="T3" fmla="*/ 0 h 41"/>
                <a:gd name="T4" fmla="*/ 100 w 121"/>
                <a:gd name="T5" fmla="*/ 23 h 41"/>
                <a:gd name="T6" fmla="*/ 20 w 121"/>
                <a:gd name="T7" fmla="*/ 23 h 41"/>
                <a:gd name="T8" fmla="*/ 20 w 121"/>
                <a:gd name="T9" fmla="*/ 0 h 41"/>
                <a:gd name="T10" fmla="*/ 6 w 121"/>
                <a:gd name="T11" fmla="*/ 0 h 41"/>
                <a:gd name="T12" fmla="*/ 0 w 121"/>
                <a:gd name="T13" fmla="*/ 0 h 41"/>
                <a:gd name="T14" fmla="*/ 0 w 121"/>
                <a:gd name="T15" fmla="*/ 35 h 41"/>
                <a:gd name="T16" fmla="*/ 6 w 121"/>
                <a:gd name="T17" fmla="*/ 41 h 41"/>
                <a:gd name="T18" fmla="*/ 115 w 121"/>
                <a:gd name="T19" fmla="*/ 41 h 41"/>
                <a:gd name="T20" fmla="*/ 121 w 121"/>
                <a:gd name="T21" fmla="*/ 35 h 41"/>
                <a:gd name="T22" fmla="*/ 121 w 121"/>
                <a:gd name="T23" fmla="*/ 6 h 41"/>
                <a:gd name="T24" fmla="*/ 115 w 121"/>
                <a:gd name="T2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41">
                  <a:moveTo>
                    <a:pt x="115" y="0"/>
                  </a:moveTo>
                  <a:cubicBezTo>
                    <a:pt x="100" y="0"/>
                    <a:pt x="100" y="0"/>
                    <a:pt x="100" y="0"/>
                  </a:cubicBezTo>
                  <a:cubicBezTo>
                    <a:pt x="100" y="23"/>
                    <a:pt x="100" y="23"/>
                    <a:pt x="100" y="23"/>
                  </a:cubicBezTo>
                  <a:cubicBezTo>
                    <a:pt x="20" y="23"/>
                    <a:pt x="20" y="23"/>
                    <a:pt x="20" y="23"/>
                  </a:cubicBezTo>
                  <a:cubicBezTo>
                    <a:pt x="20" y="0"/>
                    <a:pt x="20" y="0"/>
                    <a:pt x="20" y="0"/>
                  </a:cubicBezTo>
                  <a:cubicBezTo>
                    <a:pt x="6" y="0"/>
                    <a:pt x="6" y="0"/>
                    <a:pt x="6" y="0"/>
                  </a:cubicBezTo>
                  <a:cubicBezTo>
                    <a:pt x="0" y="0"/>
                    <a:pt x="0" y="0"/>
                    <a:pt x="0" y="0"/>
                  </a:cubicBezTo>
                  <a:cubicBezTo>
                    <a:pt x="0" y="35"/>
                    <a:pt x="0" y="35"/>
                    <a:pt x="0" y="35"/>
                  </a:cubicBezTo>
                  <a:cubicBezTo>
                    <a:pt x="0" y="38"/>
                    <a:pt x="2" y="41"/>
                    <a:pt x="6" y="41"/>
                  </a:cubicBezTo>
                  <a:cubicBezTo>
                    <a:pt x="115" y="41"/>
                    <a:pt x="115" y="41"/>
                    <a:pt x="115" y="41"/>
                  </a:cubicBezTo>
                  <a:cubicBezTo>
                    <a:pt x="118" y="41"/>
                    <a:pt x="121" y="38"/>
                    <a:pt x="121" y="35"/>
                  </a:cubicBezTo>
                  <a:cubicBezTo>
                    <a:pt x="121" y="6"/>
                    <a:pt x="121" y="6"/>
                    <a:pt x="121" y="6"/>
                  </a:cubicBezTo>
                  <a:cubicBezTo>
                    <a:pt x="121" y="3"/>
                    <a:pt x="118" y="0"/>
                    <a:pt x="115" y="0"/>
                  </a:cubicBezTo>
                  <a:close/>
                </a:path>
              </a:pathLst>
            </a:custGeom>
            <a:solidFill>
              <a:srgbClr val="A042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6829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Obraz 56" descr="Obraz zawierający tekst&#10;&#10;Opis wygenerowany automatycznie">
            <a:extLst>
              <a:ext uri="{FF2B5EF4-FFF2-40B4-BE49-F238E27FC236}">
                <a16:creationId xmlns:a16="http://schemas.microsoft.com/office/drawing/2014/main" id="{80C3AEB7-53B7-4C62-AEAF-DE7059608A5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11882" y="1197000"/>
            <a:ext cx="10440001" cy="2088000"/>
          </a:xfrm>
          <a:prstGeom prst="rect">
            <a:avLst/>
          </a:prstGeom>
        </p:spPr>
      </p:pic>
      <p:pic>
        <p:nvPicPr>
          <p:cNvPr id="59" name="Obraz 58" descr="Obraz zawierający tekst&#10;&#10;Opis wygenerowany automatycznie">
            <a:extLst>
              <a:ext uri="{FF2B5EF4-FFF2-40B4-BE49-F238E27FC236}">
                <a16:creationId xmlns:a16="http://schemas.microsoft.com/office/drawing/2014/main" id="{37D9DD52-67B4-42ED-A0A1-FB729F35020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08000" y="3933000"/>
            <a:ext cx="10440001" cy="2088000"/>
          </a:xfrm>
          <a:prstGeom prst="rect">
            <a:avLst/>
          </a:prstGeom>
        </p:spPr>
      </p:pic>
    </p:spTree>
    <p:extLst>
      <p:ext uri="{BB962C8B-B14F-4D97-AF65-F5344CB8AC3E}">
        <p14:creationId xmlns:p14="http://schemas.microsoft.com/office/powerpoint/2010/main" val="30479679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9" name="Prostokąt 38">
            <a:extLst>
              <a:ext uri="{FF2B5EF4-FFF2-40B4-BE49-F238E27FC236}">
                <a16:creationId xmlns:a16="http://schemas.microsoft.com/office/drawing/2014/main" id="{B72053CD-1C94-433D-AC96-95D9EC661C21}"/>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0" name="Prostokąt 39">
            <a:extLst>
              <a:ext uri="{FF2B5EF4-FFF2-40B4-BE49-F238E27FC236}">
                <a16:creationId xmlns:a16="http://schemas.microsoft.com/office/drawing/2014/main" id="{2C50A052-C139-4CEB-BEAC-254EB3A151D4}"/>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1" name="Prostokąt 40">
            <a:extLst>
              <a:ext uri="{FF2B5EF4-FFF2-40B4-BE49-F238E27FC236}">
                <a16:creationId xmlns:a16="http://schemas.microsoft.com/office/drawing/2014/main" id="{928ECEC3-C962-469F-8CF6-882964E3801E}"/>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0" name="Obraz 19">
            <a:extLst>
              <a:ext uri="{FF2B5EF4-FFF2-40B4-BE49-F238E27FC236}">
                <a16:creationId xmlns:a16="http://schemas.microsoft.com/office/drawing/2014/main" id="{562B133E-B981-473D-8FF3-E41CD6D81CBB}"/>
              </a:ext>
            </a:extLst>
          </p:cNvPr>
          <p:cNvPicPr>
            <a:picLocks noChangeAspect="1"/>
          </p:cNvPicPr>
          <p:nvPr/>
        </p:nvPicPr>
        <p:blipFill>
          <a:blip r:embed="rId8"/>
          <a:stretch>
            <a:fillRect/>
          </a:stretch>
        </p:blipFill>
        <p:spPr>
          <a:xfrm>
            <a:off x="6825688" y="4862361"/>
            <a:ext cx="1089961" cy="441622"/>
          </a:xfrm>
          <a:prstGeom prst="rect">
            <a:avLst/>
          </a:prstGeom>
        </p:spPr>
      </p:pic>
      <p:pic>
        <p:nvPicPr>
          <p:cNvPr id="21" name="Obraz 20">
            <a:extLst>
              <a:ext uri="{FF2B5EF4-FFF2-40B4-BE49-F238E27FC236}">
                <a16:creationId xmlns:a16="http://schemas.microsoft.com/office/drawing/2014/main" id="{09705CF2-D85E-4DF4-B1A1-DB41A318B192}"/>
              </a:ext>
            </a:extLst>
          </p:cNvPr>
          <p:cNvPicPr>
            <a:picLocks noChangeAspect="1"/>
          </p:cNvPicPr>
          <p:nvPr/>
        </p:nvPicPr>
        <p:blipFill>
          <a:blip r:embed="rId9"/>
          <a:stretch>
            <a:fillRect/>
          </a:stretch>
        </p:blipFill>
        <p:spPr>
          <a:xfrm>
            <a:off x="6208220" y="3106611"/>
            <a:ext cx="1089961" cy="699079"/>
          </a:xfrm>
          <a:prstGeom prst="rect">
            <a:avLst/>
          </a:prstGeom>
        </p:spPr>
      </p:pic>
      <p:pic>
        <p:nvPicPr>
          <p:cNvPr id="22" name="Obraz 21">
            <a:extLst>
              <a:ext uri="{FF2B5EF4-FFF2-40B4-BE49-F238E27FC236}">
                <a16:creationId xmlns:a16="http://schemas.microsoft.com/office/drawing/2014/main" id="{3985E539-DD29-437D-A917-4CACBC2EE4E7}"/>
              </a:ext>
            </a:extLst>
          </p:cNvPr>
          <p:cNvPicPr>
            <a:picLocks noChangeAspect="1"/>
          </p:cNvPicPr>
          <p:nvPr/>
        </p:nvPicPr>
        <p:blipFill>
          <a:blip r:embed="rId10"/>
          <a:stretch>
            <a:fillRect/>
          </a:stretch>
        </p:blipFill>
        <p:spPr>
          <a:xfrm>
            <a:off x="5795964" y="1720973"/>
            <a:ext cx="902038" cy="201079"/>
          </a:xfrm>
          <a:prstGeom prst="rect">
            <a:avLst/>
          </a:prstGeom>
        </p:spPr>
      </p:pic>
      <p:pic>
        <p:nvPicPr>
          <p:cNvPr id="23" name="Obraz 22">
            <a:extLst>
              <a:ext uri="{FF2B5EF4-FFF2-40B4-BE49-F238E27FC236}">
                <a16:creationId xmlns:a16="http://schemas.microsoft.com/office/drawing/2014/main" id="{719FB204-1829-4CD8-BE18-98D93DBA0E11}"/>
              </a:ext>
            </a:extLst>
          </p:cNvPr>
          <p:cNvPicPr>
            <a:picLocks noChangeAspect="1"/>
          </p:cNvPicPr>
          <p:nvPr/>
        </p:nvPicPr>
        <p:blipFill>
          <a:blip r:embed="rId11"/>
          <a:stretch>
            <a:fillRect/>
          </a:stretch>
        </p:blipFill>
        <p:spPr>
          <a:xfrm>
            <a:off x="8136667" y="486251"/>
            <a:ext cx="902037" cy="633305"/>
          </a:xfrm>
          <a:prstGeom prst="rect">
            <a:avLst/>
          </a:prstGeom>
        </p:spPr>
      </p:pic>
      <p:pic>
        <p:nvPicPr>
          <p:cNvPr id="24" name="Obraz 23">
            <a:extLst>
              <a:ext uri="{FF2B5EF4-FFF2-40B4-BE49-F238E27FC236}">
                <a16:creationId xmlns:a16="http://schemas.microsoft.com/office/drawing/2014/main" id="{213C6854-D953-447B-AAC8-7213296C38E5}"/>
              </a:ext>
            </a:extLst>
          </p:cNvPr>
          <p:cNvPicPr>
            <a:picLocks noChangeAspect="1"/>
          </p:cNvPicPr>
          <p:nvPr/>
        </p:nvPicPr>
        <p:blipFill>
          <a:blip r:embed="rId12"/>
          <a:stretch>
            <a:fillRect/>
          </a:stretch>
        </p:blipFill>
        <p:spPr>
          <a:xfrm>
            <a:off x="10566109" y="1506880"/>
            <a:ext cx="902037" cy="680286"/>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13"/>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14"/>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3" name="Łącznik prosty ze strzałką 82">
            <a:extLst>
              <a:ext uri="{FF2B5EF4-FFF2-40B4-BE49-F238E27FC236}">
                <a16:creationId xmlns:a16="http://schemas.microsoft.com/office/drawing/2014/main" id="{6303964F-DC51-4BE7-A674-EF3145CD82E0}"/>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5" name="Łącznik prosty ze strzałką 84">
            <a:extLst>
              <a:ext uri="{FF2B5EF4-FFF2-40B4-BE49-F238E27FC236}">
                <a16:creationId xmlns:a16="http://schemas.microsoft.com/office/drawing/2014/main" id="{88DC3DC1-BBCB-486D-8AEE-726FEAE6A287}"/>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7" name="Łącznik prosty ze strzałką 86">
            <a:extLst>
              <a:ext uri="{FF2B5EF4-FFF2-40B4-BE49-F238E27FC236}">
                <a16:creationId xmlns:a16="http://schemas.microsoft.com/office/drawing/2014/main" id="{760476B9-B94E-4B0D-8842-AD82315A6813}"/>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1" name="Łącznik prosty ze strzałką 90">
            <a:extLst>
              <a:ext uri="{FF2B5EF4-FFF2-40B4-BE49-F238E27FC236}">
                <a16:creationId xmlns:a16="http://schemas.microsoft.com/office/drawing/2014/main" id="{8032F3B4-9A6F-4290-9547-C0EE349B5338}"/>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14" name="Dowolny kształt: kształt 13">
            <a:extLst>
              <a:ext uri="{FF2B5EF4-FFF2-40B4-BE49-F238E27FC236}">
                <a16:creationId xmlns:a16="http://schemas.microsoft.com/office/drawing/2014/main" id="{C939EB28-98E2-4720-AF28-8D6FBFBA7F25}"/>
              </a:ext>
            </a:extLst>
          </p:cNvPr>
          <p:cNvSpPr/>
          <p:nvPr/>
        </p:nvSpPr>
        <p:spPr>
          <a:xfrm>
            <a:off x="98994" y="330725"/>
            <a:ext cx="8492807" cy="6366289"/>
          </a:xfrm>
          <a:custGeom>
            <a:avLst/>
            <a:gdLst>
              <a:gd name="connsiteX0" fmla="*/ 127429 w 8492807"/>
              <a:gd name="connsiteY0" fmla="*/ 1855126 h 6366289"/>
              <a:gd name="connsiteX1" fmla="*/ 301600 w 8492807"/>
              <a:gd name="connsiteY1" fmla="*/ 984269 h 6366289"/>
              <a:gd name="connsiteX2" fmla="*/ 1015703 w 8492807"/>
              <a:gd name="connsiteY2" fmla="*/ 278875 h 6366289"/>
              <a:gd name="connsiteX3" fmla="*/ 2330697 w 8492807"/>
              <a:gd name="connsiteY3" fmla="*/ 201 h 6366289"/>
              <a:gd name="connsiteX4" fmla="*/ 3427977 w 8492807"/>
              <a:gd name="connsiteY4" fmla="*/ 313709 h 6366289"/>
              <a:gd name="connsiteX5" fmla="*/ 4560092 w 8492807"/>
              <a:gd name="connsiteY5" fmla="*/ 1080064 h 6366289"/>
              <a:gd name="connsiteX6" fmla="*/ 4899726 w 8492807"/>
              <a:gd name="connsiteY6" fmla="*/ 1759332 h 6366289"/>
              <a:gd name="connsiteX7" fmla="*/ 5709623 w 8492807"/>
              <a:gd name="connsiteY7" fmla="*/ 1785458 h 6366289"/>
              <a:gd name="connsiteX8" fmla="*/ 6023132 w 8492807"/>
              <a:gd name="connsiteY8" fmla="*/ 1750624 h 6366289"/>
              <a:gd name="connsiteX9" fmla="*/ 6545646 w 8492807"/>
              <a:gd name="connsiteY9" fmla="*/ 1794166 h 6366289"/>
              <a:gd name="connsiteX10" fmla="*/ 6902697 w 8492807"/>
              <a:gd name="connsiteY10" fmla="*/ 2142509 h 6366289"/>
              <a:gd name="connsiteX11" fmla="*/ 7651635 w 8492807"/>
              <a:gd name="connsiteY11" fmla="*/ 2952406 h 6366289"/>
              <a:gd name="connsiteX12" fmla="*/ 8252526 w 8492807"/>
              <a:gd name="connsiteY12" fmla="*/ 3988726 h 6366289"/>
              <a:gd name="connsiteX13" fmla="*/ 8444115 w 8492807"/>
              <a:gd name="connsiteY13" fmla="*/ 4946669 h 6366289"/>
              <a:gd name="connsiteX14" fmla="*/ 7399086 w 8492807"/>
              <a:gd name="connsiteY14" fmla="*/ 5756566 h 6366289"/>
              <a:gd name="connsiteX15" fmla="*/ 6397600 w 8492807"/>
              <a:gd name="connsiteY15" fmla="*/ 6157161 h 6366289"/>
              <a:gd name="connsiteX16" fmla="*/ 5666080 w 8492807"/>
              <a:gd name="connsiteY16" fmla="*/ 6366166 h 6366289"/>
              <a:gd name="connsiteX17" fmla="*/ 4455589 w 8492807"/>
              <a:gd name="connsiteY17" fmla="*/ 6131035 h 6366289"/>
              <a:gd name="connsiteX18" fmla="*/ 3732777 w 8492807"/>
              <a:gd name="connsiteY18" fmla="*/ 5669481 h 6366289"/>
              <a:gd name="connsiteX19" fmla="*/ 3184137 w 8492807"/>
              <a:gd name="connsiteY19" fmla="*/ 5460475 h 6366289"/>
              <a:gd name="connsiteX20" fmla="*/ 2975132 w 8492807"/>
              <a:gd name="connsiteY20" fmla="*/ 5077298 h 6366289"/>
              <a:gd name="connsiteX21" fmla="*/ 2853212 w 8492807"/>
              <a:gd name="connsiteY21" fmla="*/ 4424155 h 6366289"/>
              <a:gd name="connsiteX22" fmla="*/ 2321989 w 8492807"/>
              <a:gd name="connsiteY22" fmla="*/ 3831972 h 6366289"/>
              <a:gd name="connsiteX23" fmla="*/ 902492 w 8492807"/>
              <a:gd name="connsiteY23" fmla="*/ 2934989 h 6366289"/>
              <a:gd name="connsiteX24" fmla="*/ 49052 w 8492807"/>
              <a:gd name="connsiteY24" fmla="*/ 2151218 h 6366289"/>
              <a:gd name="connsiteX25" fmla="*/ 127429 w 8492807"/>
              <a:gd name="connsiteY25" fmla="*/ 1855126 h 636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492807" h="6366289">
                <a:moveTo>
                  <a:pt x="127429" y="1855126"/>
                </a:moveTo>
                <a:cubicBezTo>
                  <a:pt x="169520" y="1660635"/>
                  <a:pt x="153554" y="1246977"/>
                  <a:pt x="301600" y="984269"/>
                </a:cubicBezTo>
                <a:cubicBezTo>
                  <a:pt x="449646" y="721561"/>
                  <a:pt x="677520" y="442886"/>
                  <a:pt x="1015703" y="278875"/>
                </a:cubicBezTo>
                <a:cubicBezTo>
                  <a:pt x="1353886" y="114864"/>
                  <a:pt x="1928651" y="-5605"/>
                  <a:pt x="2330697" y="201"/>
                </a:cubicBezTo>
                <a:cubicBezTo>
                  <a:pt x="2732743" y="6007"/>
                  <a:pt x="3056411" y="133732"/>
                  <a:pt x="3427977" y="313709"/>
                </a:cubicBezTo>
                <a:cubicBezTo>
                  <a:pt x="3799543" y="493686"/>
                  <a:pt x="4314801" y="839127"/>
                  <a:pt x="4560092" y="1080064"/>
                </a:cubicBezTo>
                <a:cubicBezTo>
                  <a:pt x="4805384" y="1321001"/>
                  <a:pt x="4708138" y="1641766"/>
                  <a:pt x="4899726" y="1759332"/>
                </a:cubicBezTo>
                <a:cubicBezTo>
                  <a:pt x="5091314" y="1876898"/>
                  <a:pt x="5522389" y="1786909"/>
                  <a:pt x="5709623" y="1785458"/>
                </a:cubicBezTo>
                <a:cubicBezTo>
                  <a:pt x="5896857" y="1784007"/>
                  <a:pt x="5883795" y="1749173"/>
                  <a:pt x="6023132" y="1750624"/>
                </a:cubicBezTo>
                <a:cubicBezTo>
                  <a:pt x="6162469" y="1752075"/>
                  <a:pt x="6399052" y="1728852"/>
                  <a:pt x="6545646" y="1794166"/>
                </a:cubicBezTo>
                <a:cubicBezTo>
                  <a:pt x="6692240" y="1859480"/>
                  <a:pt x="6718366" y="1949469"/>
                  <a:pt x="6902697" y="2142509"/>
                </a:cubicBezTo>
                <a:cubicBezTo>
                  <a:pt x="7087029" y="2335549"/>
                  <a:pt x="7426664" y="2644703"/>
                  <a:pt x="7651635" y="2952406"/>
                </a:cubicBezTo>
                <a:cubicBezTo>
                  <a:pt x="7876607" y="3260109"/>
                  <a:pt x="8120446" y="3656349"/>
                  <a:pt x="8252526" y="3988726"/>
                </a:cubicBezTo>
                <a:cubicBezTo>
                  <a:pt x="8384606" y="4321103"/>
                  <a:pt x="8586355" y="4652029"/>
                  <a:pt x="8444115" y="4946669"/>
                </a:cubicBezTo>
                <a:cubicBezTo>
                  <a:pt x="8301875" y="5241309"/>
                  <a:pt x="7740172" y="5554817"/>
                  <a:pt x="7399086" y="5756566"/>
                </a:cubicBezTo>
                <a:cubicBezTo>
                  <a:pt x="7058000" y="5958315"/>
                  <a:pt x="6686434" y="6055561"/>
                  <a:pt x="6397600" y="6157161"/>
                </a:cubicBezTo>
                <a:cubicBezTo>
                  <a:pt x="6108766" y="6258761"/>
                  <a:pt x="5989748" y="6370520"/>
                  <a:pt x="5666080" y="6366166"/>
                </a:cubicBezTo>
                <a:cubicBezTo>
                  <a:pt x="5342412" y="6361812"/>
                  <a:pt x="4777806" y="6247149"/>
                  <a:pt x="4455589" y="6131035"/>
                </a:cubicBezTo>
                <a:cubicBezTo>
                  <a:pt x="4133372" y="6014921"/>
                  <a:pt x="3944686" y="5781241"/>
                  <a:pt x="3732777" y="5669481"/>
                </a:cubicBezTo>
                <a:cubicBezTo>
                  <a:pt x="3520868" y="5557721"/>
                  <a:pt x="3310411" y="5559172"/>
                  <a:pt x="3184137" y="5460475"/>
                </a:cubicBezTo>
                <a:cubicBezTo>
                  <a:pt x="3057863" y="5361778"/>
                  <a:pt x="3030286" y="5250018"/>
                  <a:pt x="2975132" y="5077298"/>
                </a:cubicBezTo>
                <a:cubicBezTo>
                  <a:pt x="2919978" y="4904578"/>
                  <a:pt x="2962069" y="4631709"/>
                  <a:pt x="2853212" y="4424155"/>
                </a:cubicBezTo>
                <a:cubicBezTo>
                  <a:pt x="2744355" y="4216601"/>
                  <a:pt x="2647109" y="4080166"/>
                  <a:pt x="2321989" y="3831972"/>
                </a:cubicBezTo>
                <a:cubicBezTo>
                  <a:pt x="1996869" y="3583778"/>
                  <a:pt x="1281315" y="3215115"/>
                  <a:pt x="902492" y="2934989"/>
                </a:cubicBezTo>
                <a:cubicBezTo>
                  <a:pt x="523669" y="2654863"/>
                  <a:pt x="179681" y="2329744"/>
                  <a:pt x="49052" y="2151218"/>
                </a:cubicBezTo>
                <a:cubicBezTo>
                  <a:pt x="-81577" y="1972692"/>
                  <a:pt x="85338" y="2049617"/>
                  <a:pt x="127429" y="1855126"/>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6" name="Dowolny kształt: kształt 15">
            <a:extLst>
              <a:ext uri="{FF2B5EF4-FFF2-40B4-BE49-F238E27FC236}">
                <a16:creationId xmlns:a16="http://schemas.microsoft.com/office/drawing/2014/main" id="{52C20A6E-0726-4DE6-A30E-C3BB21108D84}"/>
              </a:ext>
            </a:extLst>
          </p:cNvPr>
          <p:cNvSpPr/>
          <p:nvPr/>
        </p:nvSpPr>
        <p:spPr>
          <a:xfrm>
            <a:off x="9284945" y="2197291"/>
            <a:ext cx="2751428" cy="4334154"/>
          </a:xfrm>
          <a:custGeom>
            <a:avLst/>
            <a:gdLst>
              <a:gd name="connsiteX0" fmla="*/ 1618186 w 2751428"/>
              <a:gd name="connsiteY0" fmla="*/ 40812 h 4334154"/>
              <a:gd name="connsiteX1" fmla="*/ 912792 w 2751428"/>
              <a:gd name="connsiteY1" fmla="*/ 258526 h 4334154"/>
              <a:gd name="connsiteX2" fmla="*/ 94186 w 2751428"/>
              <a:gd name="connsiteY2" fmla="*/ 1094549 h 4334154"/>
              <a:gd name="connsiteX3" fmla="*/ 50644 w 2751428"/>
              <a:gd name="connsiteY3" fmla="*/ 2583715 h 4334154"/>
              <a:gd name="connsiteX4" fmla="*/ 390278 w 2751428"/>
              <a:gd name="connsiteY4" fmla="*/ 3785498 h 4334154"/>
              <a:gd name="connsiteX5" fmla="*/ 1435306 w 2751428"/>
              <a:gd name="connsiteY5" fmla="*/ 4290595 h 4334154"/>
              <a:gd name="connsiteX6" fmla="*/ 2584838 w 2751428"/>
              <a:gd name="connsiteY6" fmla="*/ 4229635 h 4334154"/>
              <a:gd name="connsiteX7" fmla="*/ 2750301 w 2751428"/>
              <a:gd name="connsiteY7" fmla="*/ 3602618 h 4334154"/>
              <a:gd name="connsiteX8" fmla="*/ 2654506 w 2751428"/>
              <a:gd name="connsiteY8" fmla="*/ 2444378 h 4334154"/>
              <a:gd name="connsiteX9" fmla="*/ 2593546 w 2751428"/>
              <a:gd name="connsiteY9" fmla="*/ 1155509 h 4334154"/>
              <a:gd name="connsiteX10" fmla="*/ 2010072 w 2751428"/>
              <a:gd name="connsiteY10" fmla="*/ 84355 h 4334154"/>
              <a:gd name="connsiteX11" fmla="*/ 1827192 w 2751428"/>
              <a:gd name="connsiteY11" fmla="*/ 66938 h 4334154"/>
              <a:gd name="connsiteX12" fmla="*/ 1618186 w 2751428"/>
              <a:gd name="connsiteY12" fmla="*/ 40812 h 4334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1428" h="4334154">
                <a:moveTo>
                  <a:pt x="1618186" y="40812"/>
                </a:moveTo>
                <a:cubicBezTo>
                  <a:pt x="1465786" y="72743"/>
                  <a:pt x="1166792" y="82903"/>
                  <a:pt x="912792" y="258526"/>
                </a:cubicBezTo>
                <a:cubicBezTo>
                  <a:pt x="658792" y="434149"/>
                  <a:pt x="237877" y="707018"/>
                  <a:pt x="94186" y="1094549"/>
                </a:cubicBezTo>
                <a:cubicBezTo>
                  <a:pt x="-49505" y="1482080"/>
                  <a:pt x="1295" y="2135223"/>
                  <a:pt x="50644" y="2583715"/>
                </a:cubicBezTo>
                <a:cubicBezTo>
                  <a:pt x="99993" y="3032207"/>
                  <a:pt x="159501" y="3501018"/>
                  <a:pt x="390278" y="3785498"/>
                </a:cubicBezTo>
                <a:cubicBezTo>
                  <a:pt x="621055" y="4069978"/>
                  <a:pt x="1069546" y="4216572"/>
                  <a:pt x="1435306" y="4290595"/>
                </a:cubicBezTo>
                <a:cubicBezTo>
                  <a:pt x="1801066" y="4364618"/>
                  <a:pt x="2365672" y="4344298"/>
                  <a:pt x="2584838" y="4229635"/>
                </a:cubicBezTo>
                <a:cubicBezTo>
                  <a:pt x="2804004" y="4114972"/>
                  <a:pt x="2738690" y="3900161"/>
                  <a:pt x="2750301" y="3602618"/>
                </a:cubicBezTo>
                <a:cubicBezTo>
                  <a:pt x="2761912" y="3305075"/>
                  <a:pt x="2680632" y="2852230"/>
                  <a:pt x="2654506" y="2444378"/>
                </a:cubicBezTo>
                <a:cubicBezTo>
                  <a:pt x="2628380" y="2036527"/>
                  <a:pt x="2700952" y="1548846"/>
                  <a:pt x="2593546" y="1155509"/>
                </a:cubicBezTo>
                <a:cubicBezTo>
                  <a:pt x="2486140" y="762172"/>
                  <a:pt x="2137798" y="265784"/>
                  <a:pt x="2010072" y="84355"/>
                </a:cubicBezTo>
                <a:cubicBezTo>
                  <a:pt x="1882346" y="-97074"/>
                  <a:pt x="1892506" y="71292"/>
                  <a:pt x="1827192" y="66938"/>
                </a:cubicBezTo>
                <a:cubicBezTo>
                  <a:pt x="1761878" y="62584"/>
                  <a:pt x="1770586" y="8881"/>
                  <a:pt x="1618186" y="40812"/>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24949100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9" name="Prostokąt 38">
            <a:extLst>
              <a:ext uri="{FF2B5EF4-FFF2-40B4-BE49-F238E27FC236}">
                <a16:creationId xmlns:a16="http://schemas.microsoft.com/office/drawing/2014/main" id="{B72053CD-1C94-433D-AC96-95D9EC661C21}"/>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0" name="Prostokąt 39">
            <a:extLst>
              <a:ext uri="{FF2B5EF4-FFF2-40B4-BE49-F238E27FC236}">
                <a16:creationId xmlns:a16="http://schemas.microsoft.com/office/drawing/2014/main" id="{2C50A052-C139-4CEB-BEAC-254EB3A151D4}"/>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1" name="Prostokąt 40">
            <a:extLst>
              <a:ext uri="{FF2B5EF4-FFF2-40B4-BE49-F238E27FC236}">
                <a16:creationId xmlns:a16="http://schemas.microsoft.com/office/drawing/2014/main" id="{928ECEC3-C962-469F-8CF6-882964E3801E}"/>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0" name="Obraz 19">
            <a:extLst>
              <a:ext uri="{FF2B5EF4-FFF2-40B4-BE49-F238E27FC236}">
                <a16:creationId xmlns:a16="http://schemas.microsoft.com/office/drawing/2014/main" id="{562B133E-B981-473D-8FF3-E41CD6D81CBB}"/>
              </a:ext>
            </a:extLst>
          </p:cNvPr>
          <p:cNvPicPr>
            <a:picLocks noChangeAspect="1"/>
          </p:cNvPicPr>
          <p:nvPr/>
        </p:nvPicPr>
        <p:blipFill>
          <a:blip r:embed="rId8"/>
          <a:stretch>
            <a:fillRect/>
          </a:stretch>
        </p:blipFill>
        <p:spPr>
          <a:xfrm>
            <a:off x="6825688" y="4862361"/>
            <a:ext cx="1089961" cy="441622"/>
          </a:xfrm>
          <a:prstGeom prst="rect">
            <a:avLst/>
          </a:prstGeom>
        </p:spPr>
      </p:pic>
      <p:pic>
        <p:nvPicPr>
          <p:cNvPr id="21" name="Obraz 20">
            <a:extLst>
              <a:ext uri="{FF2B5EF4-FFF2-40B4-BE49-F238E27FC236}">
                <a16:creationId xmlns:a16="http://schemas.microsoft.com/office/drawing/2014/main" id="{09705CF2-D85E-4DF4-B1A1-DB41A318B192}"/>
              </a:ext>
            </a:extLst>
          </p:cNvPr>
          <p:cNvPicPr>
            <a:picLocks noChangeAspect="1"/>
          </p:cNvPicPr>
          <p:nvPr/>
        </p:nvPicPr>
        <p:blipFill>
          <a:blip r:embed="rId9"/>
          <a:stretch>
            <a:fillRect/>
          </a:stretch>
        </p:blipFill>
        <p:spPr>
          <a:xfrm>
            <a:off x="6208220" y="3106611"/>
            <a:ext cx="1089961" cy="699079"/>
          </a:xfrm>
          <a:prstGeom prst="rect">
            <a:avLst/>
          </a:prstGeom>
        </p:spPr>
      </p:pic>
      <p:pic>
        <p:nvPicPr>
          <p:cNvPr id="22" name="Obraz 21">
            <a:extLst>
              <a:ext uri="{FF2B5EF4-FFF2-40B4-BE49-F238E27FC236}">
                <a16:creationId xmlns:a16="http://schemas.microsoft.com/office/drawing/2014/main" id="{3985E539-DD29-437D-A917-4CACBC2EE4E7}"/>
              </a:ext>
            </a:extLst>
          </p:cNvPr>
          <p:cNvPicPr>
            <a:picLocks noChangeAspect="1"/>
          </p:cNvPicPr>
          <p:nvPr/>
        </p:nvPicPr>
        <p:blipFill>
          <a:blip r:embed="rId10"/>
          <a:stretch>
            <a:fillRect/>
          </a:stretch>
        </p:blipFill>
        <p:spPr>
          <a:xfrm>
            <a:off x="5795964" y="1720973"/>
            <a:ext cx="902038" cy="201079"/>
          </a:xfrm>
          <a:prstGeom prst="rect">
            <a:avLst/>
          </a:prstGeom>
        </p:spPr>
      </p:pic>
      <p:pic>
        <p:nvPicPr>
          <p:cNvPr id="23" name="Obraz 22">
            <a:extLst>
              <a:ext uri="{FF2B5EF4-FFF2-40B4-BE49-F238E27FC236}">
                <a16:creationId xmlns:a16="http://schemas.microsoft.com/office/drawing/2014/main" id="{719FB204-1829-4CD8-BE18-98D93DBA0E11}"/>
              </a:ext>
            </a:extLst>
          </p:cNvPr>
          <p:cNvPicPr>
            <a:picLocks noChangeAspect="1"/>
          </p:cNvPicPr>
          <p:nvPr/>
        </p:nvPicPr>
        <p:blipFill>
          <a:blip r:embed="rId11"/>
          <a:stretch>
            <a:fillRect/>
          </a:stretch>
        </p:blipFill>
        <p:spPr>
          <a:xfrm>
            <a:off x="8136667" y="486251"/>
            <a:ext cx="902037" cy="633305"/>
          </a:xfrm>
          <a:prstGeom prst="rect">
            <a:avLst/>
          </a:prstGeom>
        </p:spPr>
      </p:pic>
      <p:pic>
        <p:nvPicPr>
          <p:cNvPr id="24" name="Obraz 23">
            <a:extLst>
              <a:ext uri="{FF2B5EF4-FFF2-40B4-BE49-F238E27FC236}">
                <a16:creationId xmlns:a16="http://schemas.microsoft.com/office/drawing/2014/main" id="{213C6854-D953-447B-AAC8-7213296C38E5}"/>
              </a:ext>
            </a:extLst>
          </p:cNvPr>
          <p:cNvPicPr>
            <a:picLocks noChangeAspect="1"/>
          </p:cNvPicPr>
          <p:nvPr/>
        </p:nvPicPr>
        <p:blipFill>
          <a:blip r:embed="rId12"/>
          <a:stretch>
            <a:fillRect/>
          </a:stretch>
        </p:blipFill>
        <p:spPr>
          <a:xfrm>
            <a:off x="10566109" y="1506880"/>
            <a:ext cx="902037" cy="680286"/>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13"/>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14"/>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3" name="Łącznik prosty ze strzałką 82">
            <a:extLst>
              <a:ext uri="{FF2B5EF4-FFF2-40B4-BE49-F238E27FC236}">
                <a16:creationId xmlns:a16="http://schemas.microsoft.com/office/drawing/2014/main" id="{6303964F-DC51-4BE7-A674-EF3145CD82E0}"/>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5" name="Łącznik prosty ze strzałką 84">
            <a:extLst>
              <a:ext uri="{FF2B5EF4-FFF2-40B4-BE49-F238E27FC236}">
                <a16:creationId xmlns:a16="http://schemas.microsoft.com/office/drawing/2014/main" id="{88DC3DC1-BBCB-486D-8AEE-726FEAE6A287}"/>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7" name="Łącznik prosty ze strzałką 86">
            <a:extLst>
              <a:ext uri="{FF2B5EF4-FFF2-40B4-BE49-F238E27FC236}">
                <a16:creationId xmlns:a16="http://schemas.microsoft.com/office/drawing/2014/main" id="{760476B9-B94E-4B0D-8842-AD82315A6813}"/>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1" name="Łącznik prosty ze strzałką 90">
            <a:extLst>
              <a:ext uri="{FF2B5EF4-FFF2-40B4-BE49-F238E27FC236}">
                <a16:creationId xmlns:a16="http://schemas.microsoft.com/office/drawing/2014/main" id="{8032F3B4-9A6F-4290-9547-C0EE349B5338}"/>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14" name="Dowolny kształt: kształt 13">
            <a:extLst>
              <a:ext uri="{FF2B5EF4-FFF2-40B4-BE49-F238E27FC236}">
                <a16:creationId xmlns:a16="http://schemas.microsoft.com/office/drawing/2014/main" id="{C939EB28-98E2-4720-AF28-8D6FBFBA7F25}"/>
              </a:ext>
            </a:extLst>
          </p:cNvPr>
          <p:cNvSpPr/>
          <p:nvPr/>
        </p:nvSpPr>
        <p:spPr>
          <a:xfrm>
            <a:off x="98994" y="330725"/>
            <a:ext cx="8492807" cy="6366289"/>
          </a:xfrm>
          <a:custGeom>
            <a:avLst/>
            <a:gdLst>
              <a:gd name="connsiteX0" fmla="*/ 127429 w 8492807"/>
              <a:gd name="connsiteY0" fmla="*/ 1855126 h 6366289"/>
              <a:gd name="connsiteX1" fmla="*/ 301600 w 8492807"/>
              <a:gd name="connsiteY1" fmla="*/ 984269 h 6366289"/>
              <a:gd name="connsiteX2" fmla="*/ 1015703 w 8492807"/>
              <a:gd name="connsiteY2" fmla="*/ 278875 h 6366289"/>
              <a:gd name="connsiteX3" fmla="*/ 2330697 w 8492807"/>
              <a:gd name="connsiteY3" fmla="*/ 201 h 6366289"/>
              <a:gd name="connsiteX4" fmla="*/ 3427977 w 8492807"/>
              <a:gd name="connsiteY4" fmla="*/ 313709 h 6366289"/>
              <a:gd name="connsiteX5" fmla="*/ 4560092 w 8492807"/>
              <a:gd name="connsiteY5" fmla="*/ 1080064 h 6366289"/>
              <a:gd name="connsiteX6" fmla="*/ 4899726 w 8492807"/>
              <a:gd name="connsiteY6" fmla="*/ 1759332 h 6366289"/>
              <a:gd name="connsiteX7" fmla="*/ 5709623 w 8492807"/>
              <a:gd name="connsiteY7" fmla="*/ 1785458 h 6366289"/>
              <a:gd name="connsiteX8" fmla="*/ 6023132 w 8492807"/>
              <a:gd name="connsiteY8" fmla="*/ 1750624 h 6366289"/>
              <a:gd name="connsiteX9" fmla="*/ 6545646 w 8492807"/>
              <a:gd name="connsiteY9" fmla="*/ 1794166 h 6366289"/>
              <a:gd name="connsiteX10" fmla="*/ 6902697 w 8492807"/>
              <a:gd name="connsiteY10" fmla="*/ 2142509 h 6366289"/>
              <a:gd name="connsiteX11" fmla="*/ 7651635 w 8492807"/>
              <a:gd name="connsiteY11" fmla="*/ 2952406 h 6366289"/>
              <a:gd name="connsiteX12" fmla="*/ 8252526 w 8492807"/>
              <a:gd name="connsiteY12" fmla="*/ 3988726 h 6366289"/>
              <a:gd name="connsiteX13" fmla="*/ 8444115 w 8492807"/>
              <a:gd name="connsiteY13" fmla="*/ 4946669 h 6366289"/>
              <a:gd name="connsiteX14" fmla="*/ 7399086 w 8492807"/>
              <a:gd name="connsiteY14" fmla="*/ 5756566 h 6366289"/>
              <a:gd name="connsiteX15" fmla="*/ 6397600 w 8492807"/>
              <a:gd name="connsiteY15" fmla="*/ 6157161 h 6366289"/>
              <a:gd name="connsiteX16" fmla="*/ 5666080 w 8492807"/>
              <a:gd name="connsiteY16" fmla="*/ 6366166 h 6366289"/>
              <a:gd name="connsiteX17" fmla="*/ 4455589 w 8492807"/>
              <a:gd name="connsiteY17" fmla="*/ 6131035 h 6366289"/>
              <a:gd name="connsiteX18" fmla="*/ 3732777 w 8492807"/>
              <a:gd name="connsiteY18" fmla="*/ 5669481 h 6366289"/>
              <a:gd name="connsiteX19" fmla="*/ 3184137 w 8492807"/>
              <a:gd name="connsiteY19" fmla="*/ 5460475 h 6366289"/>
              <a:gd name="connsiteX20" fmla="*/ 2975132 w 8492807"/>
              <a:gd name="connsiteY20" fmla="*/ 5077298 h 6366289"/>
              <a:gd name="connsiteX21" fmla="*/ 2853212 w 8492807"/>
              <a:gd name="connsiteY21" fmla="*/ 4424155 h 6366289"/>
              <a:gd name="connsiteX22" fmla="*/ 2321989 w 8492807"/>
              <a:gd name="connsiteY22" fmla="*/ 3831972 h 6366289"/>
              <a:gd name="connsiteX23" fmla="*/ 902492 w 8492807"/>
              <a:gd name="connsiteY23" fmla="*/ 2934989 h 6366289"/>
              <a:gd name="connsiteX24" fmla="*/ 49052 w 8492807"/>
              <a:gd name="connsiteY24" fmla="*/ 2151218 h 6366289"/>
              <a:gd name="connsiteX25" fmla="*/ 127429 w 8492807"/>
              <a:gd name="connsiteY25" fmla="*/ 1855126 h 636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492807" h="6366289">
                <a:moveTo>
                  <a:pt x="127429" y="1855126"/>
                </a:moveTo>
                <a:cubicBezTo>
                  <a:pt x="169520" y="1660635"/>
                  <a:pt x="153554" y="1246977"/>
                  <a:pt x="301600" y="984269"/>
                </a:cubicBezTo>
                <a:cubicBezTo>
                  <a:pt x="449646" y="721561"/>
                  <a:pt x="677520" y="442886"/>
                  <a:pt x="1015703" y="278875"/>
                </a:cubicBezTo>
                <a:cubicBezTo>
                  <a:pt x="1353886" y="114864"/>
                  <a:pt x="1928651" y="-5605"/>
                  <a:pt x="2330697" y="201"/>
                </a:cubicBezTo>
                <a:cubicBezTo>
                  <a:pt x="2732743" y="6007"/>
                  <a:pt x="3056411" y="133732"/>
                  <a:pt x="3427977" y="313709"/>
                </a:cubicBezTo>
                <a:cubicBezTo>
                  <a:pt x="3799543" y="493686"/>
                  <a:pt x="4314801" y="839127"/>
                  <a:pt x="4560092" y="1080064"/>
                </a:cubicBezTo>
                <a:cubicBezTo>
                  <a:pt x="4805384" y="1321001"/>
                  <a:pt x="4708138" y="1641766"/>
                  <a:pt x="4899726" y="1759332"/>
                </a:cubicBezTo>
                <a:cubicBezTo>
                  <a:pt x="5091314" y="1876898"/>
                  <a:pt x="5522389" y="1786909"/>
                  <a:pt x="5709623" y="1785458"/>
                </a:cubicBezTo>
                <a:cubicBezTo>
                  <a:pt x="5896857" y="1784007"/>
                  <a:pt x="5883795" y="1749173"/>
                  <a:pt x="6023132" y="1750624"/>
                </a:cubicBezTo>
                <a:cubicBezTo>
                  <a:pt x="6162469" y="1752075"/>
                  <a:pt x="6399052" y="1728852"/>
                  <a:pt x="6545646" y="1794166"/>
                </a:cubicBezTo>
                <a:cubicBezTo>
                  <a:pt x="6692240" y="1859480"/>
                  <a:pt x="6718366" y="1949469"/>
                  <a:pt x="6902697" y="2142509"/>
                </a:cubicBezTo>
                <a:cubicBezTo>
                  <a:pt x="7087029" y="2335549"/>
                  <a:pt x="7426664" y="2644703"/>
                  <a:pt x="7651635" y="2952406"/>
                </a:cubicBezTo>
                <a:cubicBezTo>
                  <a:pt x="7876607" y="3260109"/>
                  <a:pt x="8120446" y="3656349"/>
                  <a:pt x="8252526" y="3988726"/>
                </a:cubicBezTo>
                <a:cubicBezTo>
                  <a:pt x="8384606" y="4321103"/>
                  <a:pt x="8586355" y="4652029"/>
                  <a:pt x="8444115" y="4946669"/>
                </a:cubicBezTo>
                <a:cubicBezTo>
                  <a:pt x="8301875" y="5241309"/>
                  <a:pt x="7740172" y="5554817"/>
                  <a:pt x="7399086" y="5756566"/>
                </a:cubicBezTo>
                <a:cubicBezTo>
                  <a:pt x="7058000" y="5958315"/>
                  <a:pt x="6686434" y="6055561"/>
                  <a:pt x="6397600" y="6157161"/>
                </a:cubicBezTo>
                <a:cubicBezTo>
                  <a:pt x="6108766" y="6258761"/>
                  <a:pt x="5989748" y="6370520"/>
                  <a:pt x="5666080" y="6366166"/>
                </a:cubicBezTo>
                <a:cubicBezTo>
                  <a:pt x="5342412" y="6361812"/>
                  <a:pt x="4777806" y="6247149"/>
                  <a:pt x="4455589" y="6131035"/>
                </a:cubicBezTo>
                <a:cubicBezTo>
                  <a:pt x="4133372" y="6014921"/>
                  <a:pt x="3944686" y="5781241"/>
                  <a:pt x="3732777" y="5669481"/>
                </a:cubicBezTo>
                <a:cubicBezTo>
                  <a:pt x="3520868" y="5557721"/>
                  <a:pt x="3310411" y="5559172"/>
                  <a:pt x="3184137" y="5460475"/>
                </a:cubicBezTo>
                <a:cubicBezTo>
                  <a:pt x="3057863" y="5361778"/>
                  <a:pt x="3030286" y="5250018"/>
                  <a:pt x="2975132" y="5077298"/>
                </a:cubicBezTo>
                <a:cubicBezTo>
                  <a:pt x="2919978" y="4904578"/>
                  <a:pt x="2962069" y="4631709"/>
                  <a:pt x="2853212" y="4424155"/>
                </a:cubicBezTo>
                <a:cubicBezTo>
                  <a:pt x="2744355" y="4216601"/>
                  <a:pt x="2647109" y="4080166"/>
                  <a:pt x="2321989" y="3831972"/>
                </a:cubicBezTo>
                <a:cubicBezTo>
                  <a:pt x="1996869" y="3583778"/>
                  <a:pt x="1281315" y="3215115"/>
                  <a:pt x="902492" y="2934989"/>
                </a:cubicBezTo>
                <a:cubicBezTo>
                  <a:pt x="523669" y="2654863"/>
                  <a:pt x="179681" y="2329744"/>
                  <a:pt x="49052" y="2151218"/>
                </a:cubicBezTo>
                <a:cubicBezTo>
                  <a:pt x="-81577" y="1972692"/>
                  <a:pt x="85338" y="2049617"/>
                  <a:pt x="127429" y="1855126"/>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6" name="Dowolny kształt: kształt 15">
            <a:extLst>
              <a:ext uri="{FF2B5EF4-FFF2-40B4-BE49-F238E27FC236}">
                <a16:creationId xmlns:a16="http://schemas.microsoft.com/office/drawing/2014/main" id="{52C20A6E-0726-4DE6-A30E-C3BB21108D84}"/>
              </a:ext>
            </a:extLst>
          </p:cNvPr>
          <p:cNvSpPr/>
          <p:nvPr/>
        </p:nvSpPr>
        <p:spPr>
          <a:xfrm>
            <a:off x="9284945" y="2197291"/>
            <a:ext cx="2751428" cy="4334154"/>
          </a:xfrm>
          <a:custGeom>
            <a:avLst/>
            <a:gdLst>
              <a:gd name="connsiteX0" fmla="*/ 1618186 w 2751428"/>
              <a:gd name="connsiteY0" fmla="*/ 40812 h 4334154"/>
              <a:gd name="connsiteX1" fmla="*/ 912792 w 2751428"/>
              <a:gd name="connsiteY1" fmla="*/ 258526 h 4334154"/>
              <a:gd name="connsiteX2" fmla="*/ 94186 w 2751428"/>
              <a:gd name="connsiteY2" fmla="*/ 1094549 h 4334154"/>
              <a:gd name="connsiteX3" fmla="*/ 50644 w 2751428"/>
              <a:gd name="connsiteY3" fmla="*/ 2583715 h 4334154"/>
              <a:gd name="connsiteX4" fmla="*/ 390278 w 2751428"/>
              <a:gd name="connsiteY4" fmla="*/ 3785498 h 4334154"/>
              <a:gd name="connsiteX5" fmla="*/ 1435306 w 2751428"/>
              <a:gd name="connsiteY5" fmla="*/ 4290595 h 4334154"/>
              <a:gd name="connsiteX6" fmla="*/ 2584838 w 2751428"/>
              <a:gd name="connsiteY6" fmla="*/ 4229635 h 4334154"/>
              <a:gd name="connsiteX7" fmla="*/ 2750301 w 2751428"/>
              <a:gd name="connsiteY7" fmla="*/ 3602618 h 4334154"/>
              <a:gd name="connsiteX8" fmla="*/ 2654506 w 2751428"/>
              <a:gd name="connsiteY8" fmla="*/ 2444378 h 4334154"/>
              <a:gd name="connsiteX9" fmla="*/ 2593546 w 2751428"/>
              <a:gd name="connsiteY9" fmla="*/ 1155509 h 4334154"/>
              <a:gd name="connsiteX10" fmla="*/ 2010072 w 2751428"/>
              <a:gd name="connsiteY10" fmla="*/ 84355 h 4334154"/>
              <a:gd name="connsiteX11" fmla="*/ 1827192 w 2751428"/>
              <a:gd name="connsiteY11" fmla="*/ 66938 h 4334154"/>
              <a:gd name="connsiteX12" fmla="*/ 1618186 w 2751428"/>
              <a:gd name="connsiteY12" fmla="*/ 40812 h 4334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1428" h="4334154">
                <a:moveTo>
                  <a:pt x="1618186" y="40812"/>
                </a:moveTo>
                <a:cubicBezTo>
                  <a:pt x="1465786" y="72743"/>
                  <a:pt x="1166792" y="82903"/>
                  <a:pt x="912792" y="258526"/>
                </a:cubicBezTo>
                <a:cubicBezTo>
                  <a:pt x="658792" y="434149"/>
                  <a:pt x="237877" y="707018"/>
                  <a:pt x="94186" y="1094549"/>
                </a:cubicBezTo>
                <a:cubicBezTo>
                  <a:pt x="-49505" y="1482080"/>
                  <a:pt x="1295" y="2135223"/>
                  <a:pt x="50644" y="2583715"/>
                </a:cubicBezTo>
                <a:cubicBezTo>
                  <a:pt x="99993" y="3032207"/>
                  <a:pt x="159501" y="3501018"/>
                  <a:pt x="390278" y="3785498"/>
                </a:cubicBezTo>
                <a:cubicBezTo>
                  <a:pt x="621055" y="4069978"/>
                  <a:pt x="1069546" y="4216572"/>
                  <a:pt x="1435306" y="4290595"/>
                </a:cubicBezTo>
                <a:cubicBezTo>
                  <a:pt x="1801066" y="4364618"/>
                  <a:pt x="2365672" y="4344298"/>
                  <a:pt x="2584838" y="4229635"/>
                </a:cubicBezTo>
                <a:cubicBezTo>
                  <a:pt x="2804004" y="4114972"/>
                  <a:pt x="2738690" y="3900161"/>
                  <a:pt x="2750301" y="3602618"/>
                </a:cubicBezTo>
                <a:cubicBezTo>
                  <a:pt x="2761912" y="3305075"/>
                  <a:pt x="2680632" y="2852230"/>
                  <a:pt x="2654506" y="2444378"/>
                </a:cubicBezTo>
                <a:cubicBezTo>
                  <a:pt x="2628380" y="2036527"/>
                  <a:pt x="2700952" y="1548846"/>
                  <a:pt x="2593546" y="1155509"/>
                </a:cubicBezTo>
                <a:cubicBezTo>
                  <a:pt x="2486140" y="762172"/>
                  <a:pt x="2137798" y="265784"/>
                  <a:pt x="2010072" y="84355"/>
                </a:cubicBezTo>
                <a:cubicBezTo>
                  <a:pt x="1882346" y="-97074"/>
                  <a:pt x="1892506" y="71292"/>
                  <a:pt x="1827192" y="66938"/>
                </a:cubicBezTo>
                <a:cubicBezTo>
                  <a:pt x="1761878" y="62584"/>
                  <a:pt x="1770586" y="8881"/>
                  <a:pt x="1618186" y="40812"/>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6" name="pole tekstowe 45">
            <a:extLst>
              <a:ext uri="{FF2B5EF4-FFF2-40B4-BE49-F238E27FC236}">
                <a16:creationId xmlns:a16="http://schemas.microsoft.com/office/drawing/2014/main" id="{101B2DCF-7C5B-4A0D-B2D0-F1DF5F9C15AB}"/>
              </a:ext>
            </a:extLst>
          </p:cNvPr>
          <p:cNvSpPr txBox="1"/>
          <p:nvPr/>
        </p:nvSpPr>
        <p:spPr>
          <a:xfrm>
            <a:off x="6830215" y="2484264"/>
            <a:ext cx="3596049" cy="369332"/>
          </a:xfrm>
          <a:prstGeom prst="rect">
            <a:avLst/>
          </a:prstGeom>
          <a:noFill/>
        </p:spPr>
        <p:txBody>
          <a:bodyPr wrap="square" rtlCol="0">
            <a:spAutoFit/>
          </a:bodyPr>
          <a:lstStyle/>
          <a:p>
            <a:pPr marL="285750" indent="-285750">
              <a:buBlip>
                <a:blip r:embed="rId15"/>
              </a:buBlip>
            </a:pPr>
            <a:r>
              <a:rPr lang="en-US" dirty="0" err="1">
                <a:solidFill>
                  <a:srgbClr val="5C2D91"/>
                </a:solidFill>
                <a:latin typeface="Ubuntu" panose="020B0804030602030204" pitchFamily="34" charset="0"/>
              </a:rPr>
              <a:t>NavigationManager</a:t>
            </a:r>
            <a:r>
              <a:rPr lang="en-US" dirty="0">
                <a:solidFill>
                  <a:srgbClr val="5C2D91"/>
                </a:solidFill>
                <a:latin typeface="Ubuntu" panose="020B0804030602030204" pitchFamily="34" charset="0"/>
              </a:rPr>
              <a:t> service</a:t>
            </a:r>
          </a:p>
        </p:txBody>
      </p:sp>
      <p:sp>
        <p:nvSpPr>
          <p:cNvPr id="47" name="pole tekstowe 46">
            <a:extLst>
              <a:ext uri="{FF2B5EF4-FFF2-40B4-BE49-F238E27FC236}">
                <a16:creationId xmlns:a16="http://schemas.microsoft.com/office/drawing/2014/main" id="{9C1BC7FE-6524-4EDC-980B-0C9F9B451B7F}"/>
              </a:ext>
            </a:extLst>
          </p:cNvPr>
          <p:cNvSpPr txBox="1"/>
          <p:nvPr/>
        </p:nvSpPr>
        <p:spPr>
          <a:xfrm>
            <a:off x="7330264" y="3128891"/>
            <a:ext cx="3596049" cy="369332"/>
          </a:xfrm>
          <a:prstGeom prst="rect">
            <a:avLst/>
          </a:prstGeom>
          <a:noFill/>
        </p:spPr>
        <p:txBody>
          <a:bodyPr wrap="square" rtlCol="0">
            <a:spAutoFit/>
          </a:bodyPr>
          <a:lstStyle/>
          <a:p>
            <a:pPr marL="285750" indent="-285750">
              <a:buBlip>
                <a:blip r:embed="rId15"/>
              </a:buBlip>
            </a:pPr>
            <a:r>
              <a:rPr lang="en-US" dirty="0" err="1">
                <a:solidFill>
                  <a:srgbClr val="5C2D91"/>
                </a:solidFill>
                <a:latin typeface="Ubuntu" panose="020B0804030602030204" pitchFamily="34" charset="0"/>
              </a:rPr>
              <a:t>NavLink</a:t>
            </a:r>
            <a:r>
              <a:rPr lang="en-US" dirty="0">
                <a:solidFill>
                  <a:srgbClr val="5C2D91"/>
                </a:solidFill>
                <a:latin typeface="Ubuntu" panose="020B0804030602030204" pitchFamily="34" charset="0"/>
              </a:rPr>
              <a:t> component</a:t>
            </a:r>
          </a:p>
        </p:txBody>
      </p:sp>
      <p:sp>
        <p:nvSpPr>
          <p:cNvPr id="48" name="pole tekstowe 47">
            <a:extLst>
              <a:ext uri="{FF2B5EF4-FFF2-40B4-BE49-F238E27FC236}">
                <a16:creationId xmlns:a16="http://schemas.microsoft.com/office/drawing/2014/main" id="{50831662-BFF3-4AA6-8E3E-02BF04482DC6}"/>
              </a:ext>
            </a:extLst>
          </p:cNvPr>
          <p:cNvSpPr txBox="1"/>
          <p:nvPr/>
        </p:nvSpPr>
        <p:spPr>
          <a:xfrm>
            <a:off x="7762264" y="3771814"/>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Routing parameters</a:t>
            </a:r>
          </a:p>
        </p:txBody>
      </p:sp>
      <p:sp>
        <p:nvSpPr>
          <p:cNvPr id="49" name="pole tekstowe 48">
            <a:extLst>
              <a:ext uri="{FF2B5EF4-FFF2-40B4-BE49-F238E27FC236}">
                <a16:creationId xmlns:a16="http://schemas.microsoft.com/office/drawing/2014/main" id="{835EF865-863C-49F1-87D1-8701625717D4}"/>
              </a:ext>
            </a:extLst>
          </p:cNvPr>
          <p:cNvSpPr txBox="1"/>
          <p:nvPr/>
        </p:nvSpPr>
        <p:spPr>
          <a:xfrm>
            <a:off x="8233465" y="4414737"/>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Routing constraints</a:t>
            </a:r>
          </a:p>
        </p:txBody>
      </p:sp>
      <p:sp>
        <p:nvSpPr>
          <p:cNvPr id="50" name="pole tekstowe 49">
            <a:extLst>
              <a:ext uri="{FF2B5EF4-FFF2-40B4-BE49-F238E27FC236}">
                <a16:creationId xmlns:a16="http://schemas.microsoft.com/office/drawing/2014/main" id="{E955A5D4-0E61-4978-976A-41A63D0AFBF2}"/>
              </a:ext>
            </a:extLst>
          </p:cNvPr>
          <p:cNvSpPr txBox="1"/>
          <p:nvPr/>
        </p:nvSpPr>
        <p:spPr>
          <a:xfrm>
            <a:off x="498959" y="979129"/>
            <a:ext cx="3993485"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Dependency injection</a:t>
            </a:r>
          </a:p>
        </p:txBody>
      </p:sp>
      <p:sp>
        <p:nvSpPr>
          <p:cNvPr id="51" name="pole tekstowe 50">
            <a:extLst>
              <a:ext uri="{FF2B5EF4-FFF2-40B4-BE49-F238E27FC236}">
                <a16:creationId xmlns:a16="http://schemas.microsoft.com/office/drawing/2014/main" id="{2AC9AE5D-BB06-4DA7-9383-5F88EA72C71C}"/>
              </a:ext>
            </a:extLst>
          </p:cNvPr>
          <p:cNvSpPr txBox="1"/>
          <p:nvPr/>
        </p:nvSpPr>
        <p:spPr>
          <a:xfrm>
            <a:off x="999008" y="1623756"/>
            <a:ext cx="3913263" cy="369332"/>
          </a:xfrm>
          <a:prstGeom prst="rect">
            <a:avLst/>
          </a:prstGeom>
          <a:noFill/>
        </p:spPr>
        <p:txBody>
          <a:bodyPr wrap="square" rtlCol="0">
            <a:spAutoFit/>
          </a:bodyPr>
          <a:lstStyle/>
          <a:p>
            <a:pPr marL="285750" indent="-285750">
              <a:buBlip>
                <a:blip r:embed="rId15"/>
              </a:buBlip>
            </a:pPr>
            <a:r>
              <a:rPr lang="en-US" dirty="0" err="1">
                <a:solidFill>
                  <a:srgbClr val="5C2D91"/>
                </a:solidFill>
                <a:latin typeface="Ubuntu" panose="020B0804030602030204" pitchFamily="34" charset="0"/>
              </a:rPr>
              <a:t>HttpClient</a:t>
            </a:r>
            <a:endParaRPr lang="en-US" dirty="0">
              <a:solidFill>
                <a:srgbClr val="5C2D91"/>
              </a:solidFill>
              <a:latin typeface="Ubuntu" panose="020B0804030602030204" pitchFamily="34" charset="0"/>
            </a:endParaRPr>
          </a:p>
        </p:txBody>
      </p:sp>
      <p:sp>
        <p:nvSpPr>
          <p:cNvPr id="52" name="pole tekstowe 51">
            <a:extLst>
              <a:ext uri="{FF2B5EF4-FFF2-40B4-BE49-F238E27FC236}">
                <a16:creationId xmlns:a16="http://schemas.microsoft.com/office/drawing/2014/main" id="{5687446F-D6B3-4EAC-8482-73425C7A14A8}"/>
              </a:ext>
            </a:extLst>
          </p:cNvPr>
          <p:cNvSpPr txBox="1"/>
          <p:nvPr/>
        </p:nvSpPr>
        <p:spPr>
          <a:xfrm>
            <a:off x="1431008" y="2266679"/>
            <a:ext cx="3908991"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Calling API</a:t>
            </a:r>
          </a:p>
        </p:txBody>
      </p:sp>
      <p:sp>
        <p:nvSpPr>
          <p:cNvPr id="53" name="pole tekstowe 52">
            <a:extLst>
              <a:ext uri="{FF2B5EF4-FFF2-40B4-BE49-F238E27FC236}">
                <a16:creationId xmlns:a16="http://schemas.microsoft.com/office/drawing/2014/main" id="{62B5A626-19B6-495D-9E00-518876C378AE}"/>
              </a:ext>
            </a:extLst>
          </p:cNvPr>
          <p:cNvSpPr txBox="1"/>
          <p:nvPr/>
        </p:nvSpPr>
        <p:spPr>
          <a:xfrm>
            <a:off x="8520284" y="5061255"/>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Reusable render fragments</a:t>
            </a:r>
          </a:p>
        </p:txBody>
      </p:sp>
      <p:sp>
        <p:nvSpPr>
          <p:cNvPr id="54" name="pole tekstowe 53">
            <a:extLst>
              <a:ext uri="{FF2B5EF4-FFF2-40B4-BE49-F238E27FC236}">
                <a16:creationId xmlns:a16="http://schemas.microsoft.com/office/drawing/2014/main" id="{1389BE31-4D1F-422C-94D6-762CBB118EAC}"/>
              </a:ext>
            </a:extLst>
          </p:cNvPr>
          <p:cNvSpPr txBox="1"/>
          <p:nvPr/>
        </p:nvSpPr>
        <p:spPr>
          <a:xfrm>
            <a:off x="1902209" y="2909602"/>
            <a:ext cx="3975404"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JSON helpers</a:t>
            </a:r>
          </a:p>
        </p:txBody>
      </p:sp>
      <p:sp>
        <p:nvSpPr>
          <p:cNvPr id="55" name="pole tekstowe 54">
            <a:extLst>
              <a:ext uri="{FF2B5EF4-FFF2-40B4-BE49-F238E27FC236}">
                <a16:creationId xmlns:a16="http://schemas.microsoft.com/office/drawing/2014/main" id="{37AF65C1-C10A-48B5-AFCB-AAABE2E27EFB}"/>
              </a:ext>
            </a:extLst>
          </p:cNvPr>
          <p:cNvSpPr txBox="1"/>
          <p:nvPr/>
        </p:nvSpPr>
        <p:spPr>
          <a:xfrm>
            <a:off x="2805410" y="4200497"/>
            <a:ext cx="3596049" cy="369332"/>
          </a:xfrm>
          <a:prstGeom prst="rect">
            <a:avLst/>
          </a:prstGeom>
          <a:noFill/>
        </p:spPr>
        <p:txBody>
          <a:bodyPr wrap="square" rtlCol="0">
            <a:spAutoFit/>
          </a:bodyPr>
          <a:lstStyle/>
          <a:p>
            <a:pPr marL="285750" indent="-285750">
              <a:buBlip>
                <a:blip r:embed="rId15"/>
              </a:buBlip>
            </a:pPr>
            <a:r>
              <a:rPr lang="en-US" dirty="0" err="1">
                <a:solidFill>
                  <a:srgbClr val="5C2D91"/>
                </a:solidFill>
                <a:latin typeface="Ubuntu" panose="020B0804030602030204" pitchFamily="34" charset="0"/>
              </a:rPr>
              <a:t>Ilogger</a:t>
            </a:r>
            <a:r>
              <a:rPr lang="en-US" dirty="0">
                <a:solidFill>
                  <a:srgbClr val="5C2D91"/>
                </a:solidFill>
                <a:latin typeface="Ubuntu" panose="020B0804030602030204" pitchFamily="34" charset="0"/>
              </a:rPr>
              <a:t> service</a:t>
            </a:r>
          </a:p>
        </p:txBody>
      </p:sp>
      <p:sp>
        <p:nvSpPr>
          <p:cNvPr id="56" name="pole tekstowe 55">
            <a:extLst>
              <a:ext uri="{FF2B5EF4-FFF2-40B4-BE49-F238E27FC236}">
                <a16:creationId xmlns:a16="http://schemas.microsoft.com/office/drawing/2014/main" id="{8D71F3DC-A719-4790-A877-740FA7F41437}"/>
              </a:ext>
            </a:extLst>
          </p:cNvPr>
          <p:cNvSpPr txBox="1"/>
          <p:nvPr/>
        </p:nvSpPr>
        <p:spPr>
          <a:xfrm>
            <a:off x="3092229" y="4847015"/>
            <a:ext cx="3325814" cy="646331"/>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Incomplete async actions handling</a:t>
            </a:r>
          </a:p>
        </p:txBody>
      </p:sp>
      <p:sp>
        <p:nvSpPr>
          <p:cNvPr id="57" name="pole tekstowe 56">
            <a:extLst>
              <a:ext uri="{FF2B5EF4-FFF2-40B4-BE49-F238E27FC236}">
                <a16:creationId xmlns:a16="http://schemas.microsoft.com/office/drawing/2014/main" id="{A56B333F-B438-4DF0-867A-201755E2079C}"/>
              </a:ext>
            </a:extLst>
          </p:cNvPr>
          <p:cNvSpPr txBox="1"/>
          <p:nvPr/>
        </p:nvSpPr>
        <p:spPr>
          <a:xfrm>
            <a:off x="2334209" y="3557574"/>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Handling API exceptions</a:t>
            </a:r>
          </a:p>
        </p:txBody>
      </p:sp>
    </p:spTree>
    <p:extLst>
      <p:ext uri="{BB962C8B-B14F-4D97-AF65-F5344CB8AC3E}">
        <p14:creationId xmlns:p14="http://schemas.microsoft.com/office/powerpoint/2010/main" val="33793059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raz 2">
            <a:extLst>
              <a:ext uri="{FF2B5EF4-FFF2-40B4-BE49-F238E27FC236}">
                <a16:creationId xmlns:a16="http://schemas.microsoft.com/office/drawing/2014/main" id="{63B06FBD-2341-4D6A-8D20-6849B730E8EC}"/>
              </a:ext>
            </a:extLst>
          </p:cNvPr>
          <p:cNvPicPr>
            <a:picLocks noChangeAspect="1"/>
          </p:cNvPicPr>
          <p:nvPr/>
        </p:nvPicPr>
        <p:blipFill>
          <a:blip r:embed="rId3">
            <a:clrChange>
              <a:clrFrom>
                <a:srgbClr val="ECECEC"/>
              </a:clrFrom>
              <a:clrTo>
                <a:srgbClr val="ECECEC">
                  <a:alpha val="0"/>
                </a:srgbClr>
              </a:clrTo>
            </a:clrChange>
          </a:blip>
          <a:stretch>
            <a:fillRect/>
          </a:stretch>
        </p:blipFill>
        <p:spPr>
          <a:xfrm>
            <a:off x="9561847" y="4019744"/>
            <a:ext cx="2305050" cy="2314575"/>
          </a:xfrm>
          <a:prstGeom prst="rect">
            <a:avLst/>
          </a:prstGeom>
        </p:spPr>
      </p:pic>
      <p:pic>
        <p:nvPicPr>
          <p:cNvPr id="2" name="Obraz 1">
            <a:extLst>
              <a:ext uri="{FF2B5EF4-FFF2-40B4-BE49-F238E27FC236}">
                <a16:creationId xmlns:a16="http://schemas.microsoft.com/office/drawing/2014/main" id="{637B6F6A-9A57-4A35-A9A9-EC5F0288645C}"/>
              </a:ext>
            </a:extLst>
          </p:cNvPr>
          <p:cNvPicPr>
            <a:picLocks noChangeAspect="1"/>
          </p:cNvPicPr>
          <p:nvPr/>
        </p:nvPicPr>
        <p:blipFill>
          <a:blip r:embed="rId4"/>
          <a:stretch>
            <a:fillRect/>
          </a:stretch>
        </p:blipFill>
        <p:spPr>
          <a:xfrm>
            <a:off x="4017446" y="4019744"/>
            <a:ext cx="2209800" cy="2219325"/>
          </a:xfrm>
          <a:prstGeom prst="rect">
            <a:avLst/>
          </a:prstGeom>
        </p:spPr>
      </p:pic>
      <p:sp>
        <p:nvSpPr>
          <p:cNvPr id="11" name="Title 12">
            <a:extLst>
              <a:ext uri="{FF2B5EF4-FFF2-40B4-BE49-F238E27FC236}">
                <a16:creationId xmlns:a16="http://schemas.microsoft.com/office/drawing/2014/main" id="{576F486B-D184-4F89-8B2C-6ABF4836A0C8}"/>
              </a:ext>
            </a:extLst>
          </p:cNvPr>
          <p:cNvSpPr>
            <a:spLocks noGrp="1"/>
          </p:cNvSpPr>
          <p:nvPr>
            <p:ph type="title"/>
          </p:nvPr>
        </p:nvSpPr>
        <p:spPr>
          <a:xfrm>
            <a:off x="6276424" y="1049444"/>
            <a:ext cx="5636422" cy="1785257"/>
          </a:xfrm>
        </p:spPr>
        <p:txBody>
          <a:bodyPr/>
          <a:lstStyle/>
          <a:p>
            <a:pPr algn="ctr"/>
            <a:r>
              <a:rPr lang="pl-PL" sz="4000" dirty="0">
                <a:latin typeface="Ubuntu" panose="020B0804030602030204" pitchFamily="34" charset="0"/>
              </a:rPr>
              <a:t>Demo #</a:t>
            </a:r>
            <a:r>
              <a:rPr lang="en-US" sz="4000" dirty="0">
                <a:latin typeface="Ubuntu" panose="020B0804030602030204" pitchFamily="34" charset="0"/>
              </a:rPr>
              <a:t>10</a:t>
            </a:r>
            <a:endParaRPr lang="en-GB" sz="4000" dirty="0">
              <a:latin typeface="Ubuntu" panose="020B0804030602030204" pitchFamily="34" charset="0"/>
            </a:endParaRPr>
          </a:p>
        </p:txBody>
      </p:sp>
      <p:grpSp>
        <p:nvGrpSpPr>
          <p:cNvPr id="12" name="Groupe 279">
            <a:extLst>
              <a:ext uri="{FF2B5EF4-FFF2-40B4-BE49-F238E27FC236}">
                <a16:creationId xmlns:a16="http://schemas.microsoft.com/office/drawing/2014/main" id="{94CD73B8-5E81-4615-94C6-C24567E14548}"/>
              </a:ext>
            </a:extLst>
          </p:cNvPr>
          <p:cNvGrpSpPr>
            <a:grpSpLocks noChangeAspect="1"/>
          </p:cNvGrpSpPr>
          <p:nvPr/>
        </p:nvGrpSpPr>
        <p:grpSpPr>
          <a:xfrm>
            <a:off x="7379970" y="1460908"/>
            <a:ext cx="214320" cy="334786"/>
            <a:chOff x="10266363" y="714375"/>
            <a:chExt cx="242888" cy="379412"/>
          </a:xfrm>
        </p:grpSpPr>
        <p:sp>
          <p:nvSpPr>
            <p:cNvPr id="18" name="Freeform 91">
              <a:extLst>
                <a:ext uri="{FF2B5EF4-FFF2-40B4-BE49-F238E27FC236}">
                  <a16:creationId xmlns:a16="http://schemas.microsoft.com/office/drawing/2014/main" id="{3469E0C3-F092-481B-BD4D-A20F3324A09E}"/>
                </a:ext>
              </a:extLst>
            </p:cNvPr>
            <p:cNvSpPr>
              <a:spLocks/>
            </p:cNvSpPr>
            <p:nvPr/>
          </p:nvSpPr>
          <p:spPr bwMode="auto">
            <a:xfrm>
              <a:off x="10266363" y="714375"/>
              <a:ext cx="242888" cy="203200"/>
            </a:xfrm>
            <a:custGeom>
              <a:avLst/>
              <a:gdLst>
                <a:gd name="T0" fmla="*/ 31 w 65"/>
                <a:gd name="T1" fmla="*/ 43 h 54"/>
                <a:gd name="T2" fmla="*/ 0 w 65"/>
                <a:gd name="T3" fmla="*/ 21 h 54"/>
                <a:gd name="T4" fmla="*/ 30 w 65"/>
                <a:gd name="T5" fmla="*/ 0 h 54"/>
                <a:gd name="T6" fmla="*/ 31 w 65"/>
                <a:gd name="T7" fmla="*/ 12 h 54"/>
                <a:gd name="T8" fmla="*/ 42 w 65"/>
                <a:gd name="T9" fmla="*/ 12 h 54"/>
                <a:gd name="T10" fmla="*/ 65 w 65"/>
                <a:gd name="T11" fmla="*/ 32 h 54"/>
                <a:gd name="T12" fmla="*/ 52 w 65"/>
                <a:gd name="T13" fmla="*/ 54 h 54"/>
                <a:gd name="T14" fmla="*/ 52 w 65"/>
                <a:gd name="T15" fmla="*/ 39 h 54"/>
                <a:gd name="T16" fmla="*/ 41 w 65"/>
                <a:gd name="T17" fmla="*/ 31 h 54"/>
                <a:gd name="T18" fmla="*/ 31 w 65"/>
                <a:gd name="T19" fmla="*/ 31 h 54"/>
                <a:gd name="T20" fmla="*/ 31 w 65"/>
                <a:gd name="T21" fmla="*/ 4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1" y="43"/>
                  </a:moveTo>
                  <a:cubicBezTo>
                    <a:pt x="0" y="21"/>
                    <a:pt x="0" y="21"/>
                    <a:pt x="0" y="21"/>
                  </a:cubicBezTo>
                  <a:cubicBezTo>
                    <a:pt x="30" y="0"/>
                    <a:pt x="30" y="0"/>
                    <a:pt x="30" y="0"/>
                  </a:cubicBezTo>
                  <a:cubicBezTo>
                    <a:pt x="31" y="12"/>
                    <a:pt x="31" y="12"/>
                    <a:pt x="31" y="12"/>
                  </a:cubicBezTo>
                  <a:cubicBezTo>
                    <a:pt x="31" y="12"/>
                    <a:pt x="36" y="12"/>
                    <a:pt x="42" y="12"/>
                  </a:cubicBezTo>
                  <a:cubicBezTo>
                    <a:pt x="51" y="12"/>
                    <a:pt x="65" y="19"/>
                    <a:pt x="65" y="32"/>
                  </a:cubicBezTo>
                  <a:cubicBezTo>
                    <a:pt x="65" y="43"/>
                    <a:pt x="56" y="53"/>
                    <a:pt x="52" y="54"/>
                  </a:cubicBezTo>
                  <a:cubicBezTo>
                    <a:pt x="52" y="54"/>
                    <a:pt x="53" y="42"/>
                    <a:pt x="52" y="39"/>
                  </a:cubicBezTo>
                  <a:cubicBezTo>
                    <a:pt x="52" y="38"/>
                    <a:pt x="51" y="31"/>
                    <a:pt x="41" y="31"/>
                  </a:cubicBezTo>
                  <a:cubicBezTo>
                    <a:pt x="31" y="31"/>
                    <a:pt x="31" y="31"/>
                    <a:pt x="31" y="31"/>
                  </a:cubicBezTo>
                  <a:lnTo>
                    <a:pt x="31" y="43"/>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2">
              <a:extLst>
                <a:ext uri="{FF2B5EF4-FFF2-40B4-BE49-F238E27FC236}">
                  <a16:creationId xmlns:a16="http://schemas.microsoft.com/office/drawing/2014/main" id="{F3323089-D2C7-40DC-864A-036E9F218948}"/>
                </a:ext>
              </a:extLst>
            </p:cNvPr>
            <p:cNvSpPr>
              <a:spLocks/>
            </p:cNvSpPr>
            <p:nvPr/>
          </p:nvSpPr>
          <p:spPr bwMode="auto">
            <a:xfrm>
              <a:off x="10266363" y="887412"/>
              <a:ext cx="242888" cy="206375"/>
            </a:xfrm>
            <a:custGeom>
              <a:avLst/>
              <a:gdLst>
                <a:gd name="T0" fmla="*/ 34 w 65"/>
                <a:gd name="T1" fmla="*/ 24 h 55"/>
                <a:gd name="T2" fmla="*/ 24 w 65"/>
                <a:gd name="T3" fmla="*/ 24 h 55"/>
                <a:gd name="T4" fmla="*/ 12 w 65"/>
                <a:gd name="T5" fmla="*/ 15 h 55"/>
                <a:gd name="T6" fmla="*/ 13 w 65"/>
                <a:gd name="T7" fmla="*/ 0 h 55"/>
                <a:gd name="T8" fmla="*/ 0 w 65"/>
                <a:gd name="T9" fmla="*/ 22 h 55"/>
                <a:gd name="T10" fmla="*/ 22 w 65"/>
                <a:gd name="T11" fmla="*/ 43 h 55"/>
                <a:gd name="T12" fmla="*/ 34 w 65"/>
                <a:gd name="T13" fmla="*/ 43 h 55"/>
                <a:gd name="T14" fmla="*/ 34 w 65"/>
                <a:gd name="T15" fmla="*/ 55 h 55"/>
                <a:gd name="T16" fmla="*/ 65 w 65"/>
                <a:gd name="T17" fmla="*/ 33 h 55"/>
                <a:gd name="T18" fmla="*/ 34 w 65"/>
                <a:gd name="T19" fmla="*/ 12 h 55"/>
                <a:gd name="T20" fmla="*/ 34 w 65"/>
                <a:gd name="T21" fmla="*/ 2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4" y="24"/>
                  </a:moveTo>
                  <a:cubicBezTo>
                    <a:pt x="24" y="24"/>
                    <a:pt x="24" y="24"/>
                    <a:pt x="24" y="24"/>
                  </a:cubicBezTo>
                  <a:cubicBezTo>
                    <a:pt x="13" y="24"/>
                    <a:pt x="13" y="17"/>
                    <a:pt x="12" y="15"/>
                  </a:cubicBezTo>
                  <a:cubicBezTo>
                    <a:pt x="12" y="13"/>
                    <a:pt x="13" y="0"/>
                    <a:pt x="13" y="0"/>
                  </a:cubicBezTo>
                  <a:cubicBezTo>
                    <a:pt x="8" y="2"/>
                    <a:pt x="0" y="12"/>
                    <a:pt x="0" y="22"/>
                  </a:cubicBezTo>
                  <a:cubicBezTo>
                    <a:pt x="0" y="36"/>
                    <a:pt x="14" y="43"/>
                    <a:pt x="22" y="43"/>
                  </a:cubicBezTo>
                  <a:cubicBezTo>
                    <a:pt x="28" y="43"/>
                    <a:pt x="34" y="43"/>
                    <a:pt x="34" y="43"/>
                  </a:cubicBezTo>
                  <a:cubicBezTo>
                    <a:pt x="34" y="55"/>
                    <a:pt x="34" y="55"/>
                    <a:pt x="34" y="55"/>
                  </a:cubicBezTo>
                  <a:cubicBezTo>
                    <a:pt x="65" y="33"/>
                    <a:pt x="65" y="33"/>
                    <a:pt x="65" y="33"/>
                  </a:cubicBezTo>
                  <a:cubicBezTo>
                    <a:pt x="34" y="12"/>
                    <a:pt x="34" y="12"/>
                    <a:pt x="34" y="12"/>
                  </a:cubicBezTo>
                  <a:lnTo>
                    <a:pt x="34" y="24"/>
                  </a:lnTo>
                  <a:close/>
                </a:path>
              </a:pathLst>
            </a:custGeom>
            <a:solidFill>
              <a:srgbClr val="A042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2466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9" name="Prostokąt 38">
            <a:extLst>
              <a:ext uri="{FF2B5EF4-FFF2-40B4-BE49-F238E27FC236}">
                <a16:creationId xmlns:a16="http://schemas.microsoft.com/office/drawing/2014/main" id="{B72053CD-1C94-433D-AC96-95D9EC661C21}"/>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0" name="Prostokąt 39">
            <a:extLst>
              <a:ext uri="{FF2B5EF4-FFF2-40B4-BE49-F238E27FC236}">
                <a16:creationId xmlns:a16="http://schemas.microsoft.com/office/drawing/2014/main" id="{2C50A052-C139-4CEB-BEAC-254EB3A151D4}"/>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1" name="Prostokąt 40">
            <a:extLst>
              <a:ext uri="{FF2B5EF4-FFF2-40B4-BE49-F238E27FC236}">
                <a16:creationId xmlns:a16="http://schemas.microsoft.com/office/drawing/2014/main" id="{928ECEC3-C962-469F-8CF6-882964E3801E}"/>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0" name="Obraz 19">
            <a:extLst>
              <a:ext uri="{FF2B5EF4-FFF2-40B4-BE49-F238E27FC236}">
                <a16:creationId xmlns:a16="http://schemas.microsoft.com/office/drawing/2014/main" id="{562B133E-B981-473D-8FF3-E41CD6D81CBB}"/>
              </a:ext>
            </a:extLst>
          </p:cNvPr>
          <p:cNvPicPr>
            <a:picLocks noChangeAspect="1"/>
          </p:cNvPicPr>
          <p:nvPr/>
        </p:nvPicPr>
        <p:blipFill>
          <a:blip r:embed="rId8"/>
          <a:stretch>
            <a:fillRect/>
          </a:stretch>
        </p:blipFill>
        <p:spPr>
          <a:xfrm>
            <a:off x="6825688" y="4862361"/>
            <a:ext cx="1089961" cy="441622"/>
          </a:xfrm>
          <a:prstGeom prst="rect">
            <a:avLst/>
          </a:prstGeom>
        </p:spPr>
      </p:pic>
      <p:pic>
        <p:nvPicPr>
          <p:cNvPr id="21" name="Obraz 20">
            <a:extLst>
              <a:ext uri="{FF2B5EF4-FFF2-40B4-BE49-F238E27FC236}">
                <a16:creationId xmlns:a16="http://schemas.microsoft.com/office/drawing/2014/main" id="{09705CF2-D85E-4DF4-B1A1-DB41A318B192}"/>
              </a:ext>
            </a:extLst>
          </p:cNvPr>
          <p:cNvPicPr>
            <a:picLocks noChangeAspect="1"/>
          </p:cNvPicPr>
          <p:nvPr/>
        </p:nvPicPr>
        <p:blipFill>
          <a:blip r:embed="rId9"/>
          <a:stretch>
            <a:fillRect/>
          </a:stretch>
        </p:blipFill>
        <p:spPr>
          <a:xfrm>
            <a:off x="6208220" y="3106611"/>
            <a:ext cx="1089961" cy="699079"/>
          </a:xfrm>
          <a:prstGeom prst="rect">
            <a:avLst/>
          </a:prstGeom>
        </p:spPr>
      </p:pic>
      <p:pic>
        <p:nvPicPr>
          <p:cNvPr id="22" name="Obraz 21">
            <a:extLst>
              <a:ext uri="{FF2B5EF4-FFF2-40B4-BE49-F238E27FC236}">
                <a16:creationId xmlns:a16="http://schemas.microsoft.com/office/drawing/2014/main" id="{3985E539-DD29-437D-A917-4CACBC2EE4E7}"/>
              </a:ext>
            </a:extLst>
          </p:cNvPr>
          <p:cNvPicPr>
            <a:picLocks noChangeAspect="1"/>
          </p:cNvPicPr>
          <p:nvPr/>
        </p:nvPicPr>
        <p:blipFill>
          <a:blip r:embed="rId10"/>
          <a:stretch>
            <a:fillRect/>
          </a:stretch>
        </p:blipFill>
        <p:spPr>
          <a:xfrm>
            <a:off x="5795964" y="1720973"/>
            <a:ext cx="902038" cy="20107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11"/>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12"/>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3" name="Łącznik prosty ze strzałką 82">
            <a:extLst>
              <a:ext uri="{FF2B5EF4-FFF2-40B4-BE49-F238E27FC236}">
                <a16:creationId xmlns:a16="http://schemas.microsoft.com/office/drawing/2014/main" id="{6303964F-DC51-4BE7-A674-EF3145CD82E0}"/>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5" name="Łącznik prosty ze strzałką 84">
            <a:extLst>
              <a:ext uri="{FF2B5EF4-FFF2-40B4-BE49-F238E27FC236}">
                <a16:creationId xmlns:a16="http://schemas.microsoft.com/office/drawing/2014/main" id="{88DC3DC1-BBCB-486D-8AEE-726FEAE6A287}"/>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7" name="Łącznik prosty ze strzałką 86">
            <a:extLst>
              <a:ext uri="{FF2B5EF4-FFF2-40B4-BE49-F238E27FC236}">
                <a16:creationId xmlns:a16="http://schemas.microsoft.com/office/drawing/2014/main" id="{760476B9-B94E-4B0D-8842-AD82315A6813}"/>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1" name="Łącznik prosty ze strzałką 90">
            <a:extLst>
              <a:ext uri="{FF2B5EF4-FFF2-40B4-BE49-F238E27FC236}">
                <a16:creationId xmlns:a16="http://schemas.microsoft.com/office/drawing/2014/main" id="{8032F3B4-9A6F-4290-9547-C0EE349B5338}"/>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pic>
        <p:nvPicPr>
          <p:cNvPr id="46" name="Obraz 45">
            <a:extLst>
              <a:ext uri="{FF2B5EF4-FFF2-40B4-BE49-F238E27FC236}">
                <a16:creationId xmlns:a16="http://schemas.microsoft.com/office/drawing/2014/main" id="{CAA38915-25BC-441B-B677-5E245568B339}"/>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47" name="Obraz 46">
            <a:extLst>
              <a:ext uri="{FF2B5EF4-FFF2-40B4-BE49-F238E27FC236}">
                <a16:creationId xmlns:a16="http://schemas.microsoft.com/office/drawing/2014/main" id="{7D9E2FBC-4799-4409-8618-82C13F0794C3}"/>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13" name="Dowolny kształt: kształt 12">
            <a:extLst>
              <a:ext uri="{FF2B5EF4-FFF2-40B4-BE49-F238E27FC236}">
                <a16:creationId xmlns:a16="http://schemas.microsoft.com/office/drawing/2014/main" id="{63FA6EF2-F42D-4144-B631-ACDB42B767FC}"/>
              </a:ext>
            </a:extLst>
          </p:cNvPr>
          <p:cNvSpPr/>
          <p:nvPr/>
        </p:nvSpPr>
        <p:spPr>
          <a:xfrm>
            <a:off x="127165" y="205293"/>
            <a:ext cx="10963475" cy="6533632"/>
          </a:xfrm>
          <a:custGeom>
            <a:avLst/>
            <a:gdLst>
              <a:gd name="connsiteX0" fmla="*/ 55715 w 10963475"/>
              <a:gd name="connsiteY0" fmla="*/ 2050227 h 6533632"/>
              <a:gd name="connsiteX1" fmla="*/ 491144 w 10963475"/>
              <a:gd name="connsiteY1" fmla="*/ 717816 h 6533632"/>
              <a:gd name="connsiteX2" fmla="*/ 1527464 w 10963475"/>
              <a:gd name="connsiteY2" fmla="*/ 29838 h 6533632"/>
              <a:gd name="connsiteX3" fmla="*/ 4819304 w 10963475"/>
              <a:gd name="connsiteY3" fmla="*/ 160467 h 6533632"/>
              <a:gd name="connsiteX4" fmla="*/ 7336081 w 10963475"/>
              <a:gd name="connsiteY4" fmla="*/ 108216 h 6533632"/>
              <a:gd name="connsiteX5" fmla="*/ 9417429 w 10963475"/>
              <a:gd name="connsiteY5" fmla="*/ 64673 h 6533632"/>
              <a:gd name="connsiteX6" fmla="*/ 10889178 w 10963475"/>
              <a:gd name="connsiteY6" fmla="*/ 1074867 h 6533632"/>
              <a:gd name="connsiteX7" fmla="*/ 10706298 w 10963475"/>
              <a:gd name="connsiteY7" fmla="*/ 1231621 h 6533632"/>
              <a:gd name="connsiteX8" fmla="*/ 10366664 w 10963475"/>
              <a:gd name="connsiteY8" fmla="*/ 1222913 h 6533632"/>
              <a:gd name="connsiteX9" fmla="*/ 10009612 w 10963475"/>
              <a:gd name="connsiteY9" fmla="*/ 1362250 h 6533632"/>
              <a:gd name="connsiteX10" fmla="*/ 9643852 w 10963475"/>
              <a:gd name="connsiteY10" fmla="*/ 2206981 h 6533632"/>
              <a:gd name="connsiteX11" fmla="*/ 9251966 w 10963475"/>
              <a:gd name="connsiteY11" fmla="*/ 3295553 h 6533632"/>
              <a:gd name="connsiteX12" fmla="*/ 8720744 w 10963475"/>
              <a:gd name="connsiteY12" fmla="*/ 4784718 h 6533632"/>
              <a:gd name="connsiteX13" fmla="*/ 8093726 w 10963475"/>
              <a:gd name="connsiteY13" fmla="*/ 5829747 h 6533632"/>
              <a:gd name="connsiteX14" fmla="*/ 6526184 w 10963475"/>
              <a:gd name="connsiteY14" fmla="*/ 6413221 h 6533632"/>
              <a:gd name="connsiteX15" fmla="*/ 4871555 w 10963475"/>
              <a:gd name="connsiteY15" fmla="*/ 6474181 h 6533632"/>
              <a:gd name="connsiteX16" fmla="*/ 3347555 w 10963475"/>
              <a:gd name="connsiteY16" fmla="*/ 5725244 h 6533632"/>
              <a:gd name="connsiteX17" fmla="*/ 3060172 w 10963475"/>
              <a:gd name="connsiteY17" fmla="*/ 5385610 h 6533632"/>
              <a:gd name="connsiteX18" fmla="*/ 2964378 w 10963475"/>
              <a:gd name="connsiteY18" fmla="*/ 4810844 h 6533632"/>
              <a:gd name="connsiteX19" fmla="*/ 2476698 w 10963475"/>
              <a:gd name="connsiteY19" fmla="*/ 4236078 h 6533632"/>
              <a:gd name="connsiteX20" fmla="*/ 1353292 w 10963475"/>
              <a:gd name="connsiteY20" fmla="*/ 3417473 h 6533632"/>
              <a:gd name="connsiteX21" fmla="*/ 212469 w 10963475"/>
              <a:gd name="connsiteY21" fmla="*/ 2537907 h 6533632"/>
              <a:gd name="connsiteX22" fmla="*/ 20881 w 10963475"/>
              <a:gd name="connsiteY22" fmla="*/ 2285358 h 6533632"/>
              <a:gd name="connsiteX23" fmla="*/ 55715 w 10963475"/>
              <a:gd name="connsiteY23" fmla="*/ 2050227 h 6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963475" h="6533632">
                <a:moveTo>
                  <a:pt x="55715" y="2050227"/>
                </a:moveTo>
                <a:cubicBezTo>
                  <a:pt x="134092" y="1788970"/>
                  <a:pt x="245852" y="1054548"/>
                  <a:pt x="491144" y="717816"/>
                </a:cubicBezTo>
                <a:cubicBezTo>
                  <a:pt x="736436" y="381084"/>
                  <a:pt x="806104" y="122729"/>
                  <a:pt x="1527464" y="29838"/>
                </a:cubicBezTo>
                <a:cubicBezTo>
                  <a:pt x="2248824" y="-63053"/>
                  <a:pt x="4819304" y="160467"/>
                  <a:pt x="4819304" y="160467"/>
                </a:cubicBezTo>
                <a:lnTo>
                  <a:pt x="7336081" y="108216"/>
                </a:lnTo>
                <a:cubicBezTo>
                  <a:pt x="8102435" y="92250"/>
                  <a:pt x="8825246" y="-96436"/>
                  <a:pt x="9417429" y="64673"/>
                </a:cubicBezTo>
                <a:cubicBezTo>
                  <a:pt x="10009612" y="225781"/>
                  <a:pt x="10674367" y="880376"/>
                  <a:pt x="10889178" y="1074867"/>
                </a:cubicBezTo>
                <a:cubicBezTo>
                  <a:pt x="11103989" y="1269358"/>
                  <a:pt x="10793384" y="1206947"/>
                  <a:pt x="10706298" y="1231621"/>
                </a:cubicBezTo>
                <a:cubicBezTo>
                  <a:pt x="10619212" y="1256295"/>
                  <a:pt x="10482778" y="1201141"/>
                  <a:pt x="10366664" y="1222913"/>
                </a:cubicBezTo>
                <a:cubicBezTo>
                  <a:pt x="10250550" y="1244685"/>
                  <a:pt x="10130081" y="1198239"/>
                  <a:pt x="10009612" y="1362250"/>
                </a:cubicBezTo>
                <a:cubicBezTo>
                  <a:pt x="9889143" y="1526261"/>
                  <a:pt x="9770126" y="1884764"/>
                  <a:pt x="9643852" y="2206981"/>
                </a:cubicBezTo>
                <a:cubicBezTo>
                  <a:pt x="9517578" y="2529198"/>
                  <a:pt x="9405817" y="2865930"/>
                  <a:pt x="9251966" y="3295553"/>
                </a:cubicBezTo>
                <a:cubicBezTo>
                  <a:pt x="9098115" y="3725176"/>
                  <a:pt x="8913784" y="4362352"/>
                  <a:pt x="8720744" y="4784718"/>
                </a:cubicBezTo>
                <a:cubicBezTo>
                  <a:pt x="8527704" y="5207084"/>
                  <a:pt x="8459486" y="5558330"/>
                  <a:pt x="8093726" y="5829747"/>
                </a:cubicBezTo>
                <a:cubicBezTo>
                  <a:pt x="7727966" y="6101164"/>
                  <a:pt x="7063213" y="6305815"/>
                  <a:pt x="6526184" y="6413221"/>
                </a:cubicBezTo>
                <a:cubicBezTo>
                  <a:pt x="5989156" y="6520627"/>
                  <a:pt x="5401327" y="6588844"/>
                  <a:pt x="4871555" y="6474181"/>
                </a:cubicBezTo>
                <a:cubicBezTo>
                  <a:pt x="4341784" y="6359518"/>
                  <a:pt x="3649452" y="5906672"/>
                  <a:pt x="3347555" y="5725244"/>
                </a:cubicBezTo>
                <a:cubicBezTo>
                  <a:pt x="3045658" y="5543816"/>
                  <a:pt x="3124035" y="5538010"/>
                  <a:pt x="3060172" y="5385610"/>
                </a:cubicBezTo>
                <a:cubicBezTo>
                  <a:pt x="2996309" y="5233210"/>
                  <a:pt x="3061624" y="5002433"/>
                  <a:pt x="2964378" y="4810844"/>
                </a:cubicBezTo>
                <a:cubicBezTo>
                  <a:pt x="2867132" y="4619255"/>
                  <a:pt x="2745212" y="4468307"/>
                  <a:pt x="2476698" y="4236078"/>
                </a:cubicBezTo>
                <a:cubicBezTo>
                  <a:pt x="2208184" y="4003849"/>
                  <a:pt x="1730664" y="3700502"/>
                  <a:pt x="1353292" y="3417473"/>
                </a:cubicBezTo>
                <a:cubicBezTo>
                  <a:pt x="975921" y="3134445"/>
                  <a:pt x="434537" y="2726593"/>
                  <a:pt x="212469" y="2537907"/>
                </a:cubicBezTo>
                <a:cubicBezTo>
                  <a:pt x="-9599" y="2349221"/>
                  <a:pt x="44104" y="2360832"/>
                  <a:pt x="20881" y="2285358"/>
                </a:cubicBezTo>
                <a:cubicBezTo>
                  <a:pt x="-2342" y="2209884"/>
                  <a:pt x="-22662" y="2311484"/>
                  <a:pt x="55715" y="2050227"/>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4" name="Dowolny kształt: kształt 13">
            <a:extLst>
              <a:ext uri="{FF2B5EF4-FFF2-40B4-BE49-F238E27FC236}">
                <a16:creationId xmlns:a16="http://schemas.microsoft.com/office/drawing/2014/main" id="{0F887130-B03B-4855-A64D-66BFB1DEB5DC}"/>
              </a:ext>
            </a:extLst>
          </p:cNvPr>
          <p:cNvSpPr/>
          <p:nvPr/>
        </p:nvSpPr>
        <p:spPr>
          <a:xfrm>
            <a:off x="9612241" y="4245190"/>
            <a:ext cx="2327485" cy="2374315"/>
          </a:xfrm>
          <a:custGeom>
            <a:avLst/>
            <a:gdLst>
              <a:gd name="connsiteX0" fmla="*/ 620330 w 2327485"/>
              <a:gd name="connsiteY0" fmla="*/ 56844 h 2374315"/>
              <a:gd name="connsiteX1" fmla="*/ 1308308 w 2327485"/>
              <a:gd name="connsiteY1" fmla="*/ 30719 h 2374315"/>
              <a:gd name="connsiteX2" fmla="*/ 1961450 w 2327485"/>
              <a:gd name="connsiteY2" fmla="*/ 483564 h 2374315"/>
              <a:gd name="connsiteX3" fmla="*/ 2222708 w 2327485"/>
              <a:gd name="connsiteY3" fmla="*/ 945119 h 2374315"/>
              <a:gd name="connsiteX4" fmla="*/ 2327210 w 2327485"/>
              <a:gd name="connsiteY4" fmla="*/ 1546010 h 2374315"/>
              <a:gd name="connsiteX5" fmla="*/ 2196582 w 2327485"/>
              <a:gd name="connsiteY5" fmla="*/ 2068524 h 2374315"/>
              <a:gd name="connsiteX6" fmla="*/ 1761153 w 2327485"/>
              <a:gd name="connsiteY6" fmla="*/ 2355907 h 2374315"/>
              <a:gd name="connsiteX7" fmla="*/ 890296 w 2327485"/>
              <a:gd name="connsiteY7" fmla="*/ 2251404 h 2374315"/>
              <a:gd name="connsiteX8" fmla="*/ 472285 w 2327485"/>
              <a:gd name="connsiteY8" fmla="*/ 1493759 h 2374315"/>
              <a:gd name="connsiteX9" fmla="*/ 2022 w 2327485"/>
              <a:gd name="connsiteY9" fmla="*/ 788364 h 2374315"/>
              <a:gd name="connsiteX10" fmla="*/ 315530 w 2327485"/>
              <a:gd name="connsiteY10" fmla="*/ 187473 h 2374315"/>
              <a:gd name="connsiteX11" fmla="*/ 620330 w 2327485"/>
              <a:gd name="connsiteY11" fmla="*/ 56844 h 237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7485" h="2374315">
                <a:moveTo>
                  <a:pt x="620330" y="56844"/>
                </a:moveTo>
                <a:cubicBezTo>
                  <a:pt x="785793" y="30718"/>
                  <a:pt x="1084788" y="-40401"/>
                  <a:pt x="1308308" y="30719"/>
                </a:cubicBezTo>
                <a:cubicBezTo>
                  <a:pt x="1531828" y="101839"/>
                  <a:pt x="1809050" y="331164"/>
                  <a:pt x="1961450" y="483564"/>
                </a:cubicBezTo>
                <a:cubicBezTo>
                  <a:pt x="2113850" y="635964"/>
                  <a:pt x="2161748" y="768045"/>
                  <a:pt x="2222708" y="945119"/>
                </a:cubicBezTo>
                <a:cubicBezTo>
                  <a:pt x="2283668" y="1122193"/>
                  <a:pt x="2331564" y="1358776"/>
                  <a:pt x="2327210" y="1546010"/>
                </a:cubicBezTo>
                <a:cubicBezTo>
                  <a:pt x="2322856" y="1733244"/>
                  <a:pt x="2290925" y="1933541"/>
                  <a:pt x="2196582" y="2068524"/>
                </a:cubicBezTo>
                <a:cubicBezTo>
                  <a:pt x="2102239" y="2203507"/>
                  <a:pt x="1978867" y="2325427"/>
                  <a:pt x="1761153" y="2355907"/>
                </a:cubicBezTo>
                <a:cubicBezTo>
                  <a:pt x="1543439" y="2386387"/>
                  <a:pt x="1105107" y="2395095"/>
                  <a:pt x="890296" y="2251404"/>
                </a:cubicBezTo>
                <a:cubicBezTo>
                  <a:pt x="675485" y="2107713"/>
                  <a:pt x="620331" y="1737599"/>
                  <a:pt x="472285" y="1493759"/>
                </a:cubicBezTo>
                <a:cubicBezTo>
                  <a:pt x="324239" y="1249919"/>
                  <a:pt x="28148" y="1006078"/>
                  <a:pt x="2022" y="788364"/>
                </a:cubicBezTo>
                <a:cubicBezTo>
                  <a:pt x="-24104" y="570650"/>
                  <a:pt x="209576" y="306490"/>
                  <a:pt x="315530" y="187473"/>
                </a:cubicBezTo>
                <a:cubicBezTo>
                  <a:pt x="421484" y="68456"/>
                  <a:pt x="454867" y="82970"/>
                  <a:pt x="620330" y="56844"/>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1979451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9" name="Prostokąt 38">
            <a:extLst>
              <a:ext uri="{FF2B5EF4-FFF2-40B4-BE49-F238E27FC236}">
                <a16:creationId xmlns:a16="http://schemas.microsoft.com/office/drawing/2014/main" id="{B72053CD-1C94-433D-AC96-95D9EC661C21}"/>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0" name="Prostokąt 39">
            <a:extLst>
              <a:ext uri="{FF2B5EF4-FFF2-40B4-BE49-F238E27FC236}">
                <a16:creationId xmlns:a16="http://schemas.microsoft.com/office/drawing/2014/main" id="{2C50A052-C139-4CEB-BEAC-254EB3A151D4}"/>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1" name="Prostokąt 40">
            <a:extLst>
              <a:ext uri="{FF2B5EF4-FFF2-40B4-BE49-F238E27FC236}">
                <a16:creationId xmlns:a16="http://schemas.microsoft.com/office/drawing/2014/main" id="{928ECEC3-C962-469F-8CF6-882964E3801E}"/>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0" name="Obraz 19">
            <a:extLst>
              <a:ext uri="{FF2B5EF4-FFF2-40B4-BE49-F238E27FC236}">
                <a16:creationId xmlns:a16="http://schemas.microsoft.com/office/drawing/2014/main" id="{562B133E-B981-473D-8FF3-E41CD6D81CBB}"/>
              </a:ext>
            </a:extLst>
          </p:cNvPr>
          <p:cNvPicPr>
            <a:picLocks noChangeAspect="1"/>
          </p:cNvPicPr>
          <p:nvPr/>
        </p:nvPicPr>
        <p:blipFill>
          <a:blip r:embed="rId8"/>
          <a:stretch>
            <a:fillRect/>
          </a:stretch>
        </p:blipFill>
        <p:spPr>
          <a:xfrm>
            <a:off x="6825688" y="4862361"/>
            <a:ext cx="1089961" cy="441622"/>
          </a:xfrm>
          <a:prstGeom prst="rect">
            <a:avLst/>
          </a:prstGeom>
        </p:spPr>
      </p:pic>
      <p:pic>
        <p:nvPicPr>
          <p:cNvPr id="21" name="Obraz 20">
            <a:extLst>
              <a:ext uri="{FF2B5EF4-FFF2-40B4-BE49-F238E27FC236}">
                <a16:creationId xmlns:a16="http://schemas.microsoft.com/office/drawing/2014/main" id="{09705CF2-D85E-4DF4-B1A1-DB41A318B192}"/>
              </a:ext>
            </a:extLst>
          </p:cNvPr>
          <p:cNvPicPr>
            <a:picLocks noChangeAspect="1"/>
          </p:cNvPicPr>
          <p:nvPr/>
        </p:nvPicPr>
        <p:blipFill>
          <a:blip r:embed="rId9"/>
          <a:stretch>
            <a:fillRect/>
          </a:stretch>
        </p:blipFill>
        <p:spPr>
          <a:xfrm>
            <a:off x="6208220" y="3106611"/>
            <a:ext cx="1089961" cy="699079"/>
          </a:xfrm>
          <a:prstGeom prst="rect">
            <a:avLst/>
          </a:prstGeom>
        </p:spPr>
      </p:pic>
      <p:pic>
        <p:nvPicPr>
          <p:cNvPr id="22" name="Obraz 21">
            <a:extLst>
              <a:ext uri="{FF2B5EF4-FFF2-40B4-BE49-F238E27FC236}">
                <a16:creationId xmlns:a16="http://schemas.microsoft.com/office/drawing/2014/main" id="{3985E539-DD29-437D-A917-4CACBC2EE4E7}"/>
              </a:ext>
            </a:extLst>
          </p:cNvPr>
          <p:cNvPicPr>
            <a:picLocks noChangeAspect="1"/>
          </p:cNvPicPr>
          <p:nvPr/>
        </p:nvPicPr>
        <p:blipFill>
          <a:blip r:embed="rId10"/>
          <a:stretch>
            <a:fillRect/>
          </a:stretch>
        </p:blipFill>
        <p:spPr>
          <a:xfrm>
            <a:off x="5795964" y="1720973"/>
            <a:ext cx="902038" cy="20107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11"/>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12"/>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3" name="Łącznik prosty ze strzałką 82">
            <a:extLst>
              <a:ext uri="{FF2B5EF4-FFF2-40B4-BE49-F238E27FC236}">
                <a16:creationId xmlns:a16="http://schemas.microsoft.com/office/drawing/2014/main" id="{6303964F-DC51-4BE7-A674-EF3145CD82E0}"/>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5" name="Łącznik prosty ze strzałką 84">
            <a:extLst>
              <a:ext uri="{FF2B5EF4-FFF2-40B4-BE49-F238E27FC236}">
                <a16:creationId xmlns:a16="http://schemas.microsoft.com/office/drawing/2014/main" id="{88DC3DC1-BBCB-486D-8AEE-726FEAE6A287}"/>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7" name="Łącznik prosty ze strzałką 86">
            <a:extLst>
              <a:ext uri="{FF2B5EF4-FFF2-40B4-BE49-F238E27FC236}">
                <a16:creationId xmlns:a16="http://schemas.microsoft.com/office/drawing/2014/main" id="{760476B9-B94E-4B0D-8842-AD82315A6813}"/>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1" name="Łącznik prosty ze strzałką 90">
            <a:extLst>
              <a:ext uri="{FF2B5EF4-FFF2-40B4-BE49-F238E27FC236}">
                <a16:creationId xmlns:a16="http://schemas.microsoft.com/office/drawing/2014/main" id="{8032F3B4-9A6F-4290-9547-C0EE349B5338}"/>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pic>
        <p:nvPicPr>
          <p:cNvPr id="46" name="Obraz 45">
            <a:extLst>
              <a:ext uri="{FF2B5EF4-FFF2-40B4-BE49-F238E27FC236}">
                <a16:creationId xmlns:a16="http://schemas.microsoft.com/office/drawing/2014/main" id="{CAA38915-25BC-441B-B677-5E245568B339}"/>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47" name="Obraz 46">
            <a:extLst>
              <a:ext uri="{FF2B5EF4-FFF2-40B4-BE49-F238E27FC236}">
                <a16:creationId xmlns:a16="http://schemas.microsoft.com/office/drawing/2014/main" id="{7D9E2FBC-4799-4409-8618-82C13F0794C3}"/>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13" name="Dowolny kształt: kształt 12">
            <a:extLst>
              <a:ext uri="{FF2B5EF4-FFF2-40B4-BE49-F238E27FC236}">
                <a16:creationId xmlns:a16="http://schemas.microsoft.com/office/drawing/2014/main" id="{63FA6EF2-F42D-4144-B631-ACDB42B767FC}"/>
              </a:ext>
            </a:extLst>
          </p:cNvPr>
          <p:cNvSpPr/>
          <p:nvPr/>
        </p:nvSpPr>
        <p:spPr>
          <a:xfrm>
            <a:off x="127165" y="205293"/>
            <a:ext cx="10963475" cy="6533632"/>
          </a:xfrm>
          <a:custGeom>
            <a:avLst/>
            <a:gdLst>
              <a:gd name="connsiteX0" fmla="*/ 55715 w 10963475"/>
              <a:gd name="connsiteY0" fmla="*/ 2050227 h 6533632"/>
              <a:gd name="connsiteX1" fmla="*/ 491144 w 10963475"/>
              <a:gd name="connsiteY1" fmla="*/ 717816 h 6533632"/>
              <a:gd name="connsiteX2" fmla="*/ 1527464 w 10963475"/>
              <a:gd name="connsiteY2" fmla="*/ 29838 h 6533632"/>
              <a:gd name="connsiteX3" fmla="*/ 4819304 w 10963475"/>
              <a:gd name="connsiteY3" fmla="*/ 160467 h 6533632"/>
              <a:gd name="connsiteX4" fmla="*/ 7336081 w 10963475"/>
              <a:gd name="connsiteY4" fmla="*/ 108216 h 6533632"/>
              <a:gd name="connsiteX5" fmla="*/ 9417429 w 10963475"/>
              <a:gd name="connsiteY5" fmla="*/ 64673 h 6533632"/>
              <a:gd name="connsiteX6" fmla="*/ 10889178 w 10963475"/>
              <a:gd name="connsiteY6" fmla="*/ 1074867 h 6533632"/>
              <a:gd name="connsiteX7" fmla="*/ 10706298 w 10963475"/>
              <a:gd name="connsiteY7" fmla="*/ 1231621 h 6533632"/>
              <a:gd name="connsiteX8" fmla="*/ 10366664 w 10963475"/>
              <a:gd name="connsiteY8" fmla="*/ 1222913 h 6533632"/>
              <a:gd name="connsiteX9" fmla="*/ 10009612 w 10963475"/>
              <a:gd name="connsiteY9" fmla="*/ 1362250 h 6533632"/>
              <a:gd name="connsiteX10" fmla="*/ 9643852 w 10963475"/>
              <a:gd name="connsiteY10" fmla="*/ 2206981 h 6533632"/>
              <a:gd name="connsiteX11" fmla="*/ 9251966 w 10963475"/>
              <a:gd name="connsiteY11" fmla="*/ 3295553 h 6533632"/>
              <a:gd name="connsiteX12" fmla="*/ 8720744 w 10963475"/>
              <a:gd name="connsiteY12" fmla="*/ 4784718 h 6533632"/>
              <a:gd name="connsiteX13" fmla="*/ 8093726 w 10963475"/>
              <a:gd name="connsiteY13" fmla="*/ 5829747 h 6533632"/>
              <a:gd name="connsiteX14" fmla="*/ 6526184 w 10963475"/>
              <a:gd name="connsiteY14" fmla="*/ 6413221 h 6533632"/>
              <a:gd name="connsiteX15" fmla="*/ 4871555 w 10963475"/>
              <a:gd name="connsiteY15" fmla="*/ 6474181 h 6533632"/>
              <a:gd name="connsiteX16" fmla="*/ 3347555 w 10963475"/>
              <a:gd name="connsiteY16" fmla="*/ 5725244 h 6533632"/>
              <a:gd name="connsiteX17" fmla="*/ 3060172 w 10963475"/>
              <a:gd name="connsiteY17" fmla="*/ 5385610 h 6533632"/>
              <a:gd name="connsiteX18" fmla="*/ 2964378 w 10963475"/>
              <a:gd name="connsiteY18" fmla="*/ 4810844 h 6533632"/>
              <a:gd name="connsiteX19" fmla="*/ 2476698 w 10963475"/>
              <a:gd name="connsiteY19" fmla="*/ 4236078 h 6533632"/>
              <a:gd name="connsiteX20" fmla="*/ 1353292 w 10963475"/>
              <a:gd name="connsiteY20" fmla="*/ 3417473 h 6533632"/>
              <a:gd name="connsiteX21" fmla="*/ 212469 w 10963475"/>
              <a:gd name="connsiteY21" fmla="*/ 2537907 h 6533632"/>
              <a:gd name="connsiteX22" fmla="*/ 20881 w 10963475"/>
              <a:gd name="connsiteY22" fmla="*/ 2285358 h 6533632"/>
              <a:gd name="connsiteX23" fmla="*/ 55715 w 10963475"/>
              <a:gd name="connsiteY23" fmla="*/ 2050227 h 6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963475" h="6533632">
                <a:moveTo>
                  <a:pt x="55715" y="2050227"/>
                </a:moveTo>
                <a:cubicBezTo>
                  <a:pt x="134092" y="1788970"/>
                  <a:pt x="245852" y="1054548"/>
                  <a:pt x="491144" y="717816"/>
                </a:cubicBezTo>
                <a:cubicBezTo>
                  <a:pt x="736436" y="381084"/>
                  <a:pt x="806104" y="122729"/>
                  <a:pt x="1527464" y="29838"/>
                </a:cubicBezTo>
                <a:cubicBezTo>
                  <a:pt x="2248824" y="-63053"/>
                  <a:pt x="4819304" y="160467"/>
                  <a:pt x="4819304" y="160467"/>
                </a:cubicBezTo>
                <a:lnTo>
                  <a:pt x="7336081" y="108216"/>
                </a:lnTo>
                <a:cubicBezTo>
                  <a:pt x="8102435" y="92250"/>
                  <a:pt x="8825246" y="-96436"/>
                  <a:pt x="9417429" y="64673"/>
                </a:cubicBezTo>
                <a:cubicBezTo>
                  <a:pt x="10009612" y="225781"/>
                  <a:pt x="10674367" y="880376"/>
                  <a:pt x="10889178" y="1074867"/>
                </a:cubicBezTo>
                <a:cubicBezTo>
                  <a:pt x="11103989" y="1269358"/>
                  <a:pt x="10793384" y="1206947"/>
                  <a:pt x="10706298" y="1231621"/>
                </a:cubicBezTo>
                <a:cubicBezTo>
                  <a:pt x="10619212" y="1256295"/>
                  <a:pt x="10482778" y="1201141"/>
                  <a:pt x="10366664" y="1222913"/>
                </a:cubicBezTo>
                <a:cubicBezTo>
                  <a:pt x="10250550" y="1244685"/>
                  <a:pt x="10130081" y="1198239"/>
                  <a:pt x="10009612" y="1362250"/>
                </a:cubicBezTo>
                <a:cubicBezTo>
                  <a:pt x="9889143" y="1526261"/>
                  <a:pt x="9770126" y="1884764"/>
                  <a:pt x="9643852" y="2206981"/>
                </a:cubicBezTo>
                <a:cubicBezTo>
                  <a:pt x="9517578" y="2529198"/>
                  <a:pt x="9405817" y="2865930"/>
                  <a:pt x="9251966" y="3295553"/>
                </a:cubicBezTo>
                <a:cubicBezTo>
                  <a:pt x="9098115" y="3725176"/>
                  <a:pt x="8913784" y="4362352"/>
                  <a:pt x="8720744" y="4784718"/>
                </a:cubicBezTo>
                <a:cubicBezTo>
                  <a:pt x="8527704" y="5207084"/>
                  <a:pt x="8459486" y="5558330"/>
                  <a:pt x="8093726" y="5829747"/>
                </a:cubicBezTo>
                <a:cubicBezTo>
                  <a:pt x="7727966" y="6101164"/>
                  <a:pt x="7063213" y="6305815"/>
                  <a:pt x="6526184" y="6413221"/>
                </a:cubicBezTo>
                <a:cubicBezTo>
                  <a:pt x="5989156" y="6520627"/>
                  <a:pt x="5401327" y="6588844"/>
                  <a:pt x="4871555" y="6474181"/>
                </a:cubicBezTo>
                <a:cubicBezTo>
                  <a:pt x="4341784" y="6359518"/>
                  <a:pt x="3649452" y="5906672"/>
                  <a:pt x="3347555" y="5725244"/>
                </a:cubicBezTo>
                <a:cubicBezTo>
                  <a:pt x="3045658" y="5543816"/>
                  <a:pt x="3124035" y="5538010"/>
                  <a:pt x="3060172" y="5385610"/>
                </a:cubicBezTo>
                <a:cubicBezTo>
                  <a:pt x="2996309" y="5233210"/>
                  <a:pt x="3061624" y="5002433"/>
                  <a:pt x="2964378" y="4810844"/>
                </a:cubicBezTo>
                <a:cubicBezTo>
                  <a:pt x="2867132" y="4619255"/>
                  <a:pt x="2745212" y="4468307"/>
                  <a:pt x="2476698" y="4236078"/>
                </a:cubicBezTo>
                <a:cubicBezTo>
                  <a:pt x="2208184" y="4003849"/>
                  <a:pt x="1730664" y="3700502"/>
                  <a:pt x="1353292" y="3417473"/>
                </a:cubicBezTo>
                <a:cubicBezTo>
                  <a:pt x="975921" y="3134445"/>
                  <a:pt x="434537" y="2726593"/>
                  <a:pt x="212469" y="2537907"/>
                </a:cubicBezTo>
                <a:cubicBezTo>
                  <a:pt x="-9599" y="2349221"/>
                  <a:pt x="44104" y="2360832"/>
                  <a:pt x="20881" y="2285358"/>
                </a:cubicBezTo>
                <a:cubicBezTo>
                  <a:pt x="-2342" y="2209884"/>
                  <a:pt x="-22662" y="2311484"/>
                  <a:pt x="55715" y="2050227"/>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4" name="Dowolny kształt: kształt 13">
            <a:extLst>
              <a:ext uri="{FF2B5EF4-FFF2-40B4-BE49-F238E27FC236}">
                <a16:creationId xmlns:a16="http://schemas.microsoft.com/office/drawing/2014/main" id="{0F887130-B03B-4855-A64D-66BFB1DEB5DC}"/>
              </a:ext>
            </a:extLst>
          </p:cNvPr>
          <p:cNvSpPr/>
          <p:nvPr/>
        </p:nvSpPr>
        <p:spPr>
          <a:xfrm>
            <a:off x="9612241" y="4245190"/>
            <a:ext cx="2327485" cy="2374315"/>
          </a:xfrm>
          <a:custGeom>
            <a:avLst/>
            <a:gdLst>
              <a:gd name="connsiteX0" fmla="*/ 620330 w 2327485"/>
              <a:gd name="connsiteY0" fmla="*/ 56844 h 2374315"/>
              <a:gd name="connsiteX1" fmla="*/ 1308308 w 2327485"/>
              <a:gd name="connsiteY1" fmla="*/ 30719 h 2374315"/>
              <a:gd name="connsiteX2" fmla="*/ 1961450 w 2327485"/>
              <a:gd name="connsiteY2" fmla="*/ 483564 h 2374315"/>
              <a:gd name="connsiteX3" fmla="*/ 2222708 w 2327485"/>
              <a:gd name="connsiteY3" fmla="*/ 945119 h 2374315"/>
              <a:gd name="connsiteX4" fmla="*/ 2327210 w 2327485"/>
              <a:gd name="connsiteY4" fmla="*/ 1546010 h 2374315"/>
              <a:gd name="connsiteX5" fmla="*/ 2196582 w 2327485"/>
              <a:gd name="connsiteY5" fmla="*/ 2068524 h 2374315"/>
              <a:gd name="connsiteX6" fmla="*/ 1761153 w 2327485"/>
              <a:gd name="connsiteY6" fmla="*/ 2355907 h 2374315"/>
              <a:gd name="connsiteX7" fmla="*/ 890296 w 2327485"/>
              <a:gd name="connsiteY7" fmla="*/ 2251404 h 2374315"/>
              <a:gd name="connsiteX8" fmla="*/ 472285 w 2327485"/>
              <a:gd name="connsiteY8" fmla="*/ 1493759 h 2374315"/>
              <a:gd name="connsiteX9" fmla="*/ 2022 w 2327485"/>
              <a:gd name="connsiteY9" fmla="*/ 788364 h 2374315"/>
              <a:gd name="connsiteX10" fmla="*/ 315530 w 2327485"/>
              <a:gd name="connsiteY10" fmla="*/ 187473 h 2374315"/>
              <a:gd name="connsiteX11" fmla="*/ 620330 w 2327485"/>
              <a:gd name="connsiteY11" fmla="*/ 56844 h 237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7485" h="2374315">
                <a:moveTo>
                  <a:pt x="620330" y="56844"/>
                </a:moveTo>
                <a:cubicBezTo>
                  <a:pt x="785793" y="30718"/>
                  <a:pt x="1084788" y="-40401"/>
                  <a:pt x="1308308" y="30719"/>
                </a:cubicBezTo>
                <a:cubicBezTo>
                  <a:pt x="1531828" y="101839"/>
                  <a:pt x="1809050" y="331164"/>
                  <a:pt x="1961450" y="483564"/>
                </a:cubicBezTo>
                <a:cubicBezTo>
                  <a:pt x="2113850" y="635964"/>
                  <a:pt x="2161748" y="768045"/>
                  <a:pt x="2222708" y="945119"/>
                </a:cubicBezTo>
                <a:cubicBezTo>
                  <a:pt x="2283668" y="1122193"/>
                  <a:pt x="2331564" y="1358776"/>
                  <a:pt x="2327210" y="1546010"/>
                </a:cubicBezTo>
                <a:cubicBezTo>
                  <a:pt x="2322856" y="1733244"/>
                  <a:pt x="2290925" y="1933541"/>
                  <a:pt x="2196582" y="2068524"/>
                </a:cubicBezTo>
                <a:cubicBezTo>
                  <a:pt x="2102239" y="2203507"/>
                  <a:pt x="1978867" y="2325427"/>
                  <a:pt x="1761153" y="2355907"/>
                </a:cubicBezTo>
                <a:cubicBezTo>
                  <a:pt x="1543439" y="2386387"/>
                  <a:pt x="1105107" y="2395095"/>
                  <a:pt x="890296" y="2251404"/>
                </a:cubicBezTo>
                <a:cubicBezTo>
                  <a:pt x="675485" y="2107713"/>
                  <a:pt x="620331" y="1737599"/>
                  <a:pt x="472285" y="1493759"/>
                </a:cubicBezTo>
                <a:cubicBezTo>
                  <a:pt x="324239" y="1249919"/>
                  <a:pt x="28148" y="1006078"/>
                  <a:pt x="2022" y="788364"/>
                </a:cubicBezTo>
                <a:cubicBezTo>
                  <a:pt x="-24104" y="570650"/>
                  <a:pt x="209576" y="306490"/>
                  <a:pt x="315530" y="187473"/>
                </a:cubicBezTo>
                <a:cubicBezTo>
                  <a:pt x="421484" y="68456"/>
                  <a:pt x="454867" y="82970"/>
                  <a:pt x="620330" y="56844"/>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2" name="pole tekstowe 51">
            <a:extLst>
              <a:ext uri="{FF2B5EF4-FFF2-40B4-BE49-F238E27FC236}">
                <a16:creationId xmlns:a16="http://schemas.microsoft.com/office/drawing/2014/main" id="{D55BD4B3-74DD-498F-A4C0-D16BBB2C3AD3}"/>
              </a:ext>
            </a:extLst>
          </p:cNvPr>
          <p:cNvSpPr txBox="1"/>
          <p:nvPr/>
        </p:nvSpPr>
        <p:spPr>
          <a:xfrm>
            <a:off x="498959" y="979129"/>
            <a:ext cx="3993485"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Component events</a:t>
            </a:r>
          </a:p>
        </p:txBody>
      </p:sp>
      <p:sp>
        <p:nvSpPr>
          <p:cNvPr id="53" name="pole tekstowe 52">
            <a:extLst>
              <a:ext uri="{FF2B5EF4-FFF2-40B4-BE49-F238E27FC236}">
                <a16:creationId xmlns:a16="http://schemas.microsoft.com/office/drawing/2014/main" id="{F9C645DE-B88D-4269-82B6-46408CDA2CE8}"/>
              </a:ext>
            </a:extLst>
          </p:cNvPr>
          <p:cNvSpPr txBox="1"/>
          <p:nvPr/>
        </p:nvSpPr>
        <p:spPr>
          <a:xfrm>
            <a:off x="999008" y="1623756"/>
            <a:ext cx="4540786"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Capture references to component</a:t>
            </a:r>
          </a:p>
        </p:txBody>
      </p:sp>
      <p:sp>
        <p:nvSpPr>
          <p:cNvPr id="54" name="pole tekstowe 53">
            <a:extLst>
              <a:ext uri="{FF2B5EF4-FFF2-40B4-BE49-F238E27FC236}">
                <a16:creationId xmlns:a16="http://schemas.microsoft.com/office/drawing/2014/main" id="{F8F51595-006F-4F63-882E-37F10363561A}"/>
              </a:ext>
            </a:extLst>
          </p:cNvPr>
          <p:cNvSpPr txBox="1"/>
          <p:nvPr/>
        </p:nvSpPr>
        <p:spPr>
          <a:xfrm>
            <a:off x="1431008" y="2266679"/>
            <a:ext cx="3908991"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Posting data to API</a:t>
            </a:r>
          </a:p>
        </p:txBody>
      </p:sp>
      <p:sp>
        <p:nvSpPr>
          <p:cNvPr id="55" name="pole tekstowe 54">
            <a:extLst>
              <a:ext uri="{FF2B5EF4-FFF2-40B4-BE49-F238E27FC236}">
                <a16:creationId xmlns:a16="http://schemas.microsoft.com/office/drawing/2014/main" id="{6500DC70-D8D4-4419-8AF3-BE48DA8559A8}"/>
              </a:ext>
            </a:extLst>
          </p:cNvPr>
          <p:cNvSpPr txBox="1"/>
          <p:nvPr/>
        </p:nvSpPr>
        <p:spPr>
          <a:xfrm>
            <a:off x="1902209" y="2909602"/>
            <a:ext cx="3975404" cy="369332"/>
          </a:xfrm>
          <a:prstGeom prst="rect">
            <a:avLst/>
          </a:prstGeom>
          <a:noFill/>
        </p:spPr>
        <p:txBody>
          <a:bodyPr wrap="square" rtlCol="0">
            <a:spAutoFit/>
          </a:bodyPr>
          <a:lstStyle/>
          <a:p>
            <a:pPr marL="285750" indent="-285750">
              <a:buBlip>
                <a:blip r:embed="rId15"/>
              </a:buBlip>
            </a:pPr>
            <a:r>
              <a:rPr lang="en-US" dirty="0" err="1">
                <a:solidFill>
                  <a:srgbClr val="5C2D91"/>
                </a:solidFill>
                <a:latin typeface="Ubuntu" panose="020B0804030602030204" pitchFamily="34" charset="0"/>
              </a:rPr>
              <a:t>StateHasChanged</a:t>
            </a:r>
            <a:r>
              <a:rPr lang="en-US" dirty="0">
                <a:solidFill>
                  <a:srgbClr val="5C2D91"/>
                </a:solidFill>
                <a:latin typeface="Ubuntu" panose="020B0804030602030204" pitchFamily="34" charset="0"/>
              </a:rPr>
              <a:t> method</a:t>
            </a:r>
          </a:p>
        </p:txBody>
      </p:sp>
    </p:spTree>
    <p:extLst>
      <p:ext uri="{BB962C8B-B14F-4D97-AF65-F5344CB8AC3E}">
        <p14:creationId xmlns:p14="http://schemas.microsoft.com/office/powerpoint/2010/main" val="39994362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raz 4">
            <a:extLst>
              <a:ext uri="{FF2B5EF4-FFF2-40B4-BE49-F238E27FC236}">
                <a16:creationId xmlns:a16="http://schemas.microsoft.com/office/drawing/2014/main" id="{FD7D94B5-C151-4744-841F-1443E977F949}"/>
              </a:ext>
            </a:extLst>
          </p:cNvPr>
          <p:cNvPicPr>
            <a:picLocks noChangeAspect="1"/>
          </p:cNvPicPr>
          <p:nvPr/>
        </p:nvPicPr>
        <p:blipFill>
          <a:blip r:embed="rId3">
            <a:clrChange>
              <a:clrFrom>
                <a:srgbClr val="ECECEC"/>
              </a:clrFrom>
              <a:clrTo>
                <a:srgbClr val="ECECEC">
                  <a:alpha val="0"/>
                </a:srgbClr>
              </a:clrTo>
            </a:clrChange>
          </a:blip>
          <a:stretch>
            <a:fillRect/>
          </a:stretch>
        </p:blipFill>
        <p:spPr>
          <a:xfrm>
            <a:off x="9552000" y="4221000"/>
            <a:ext cx="2305050" cy="2305050"/>
          </a:xfrm>
          <a:prstGeom prst="rect">
            <a:avLst/>
          </a:prstGeom>
        </p:spPr>
      </p:pic>
      <p:pic>
        <p:nvPicPr>
          <p:cNvPr id="2" name="Obraz 1">
            <a:extLst>
              <a:ext uri="{FF2B5EF4-FFF2-40B4-BE49-F238E27FC236}">
                <a16:creationId xmlns:a16="http://schemas.microsoft.com/office/drawing/2014/main" id="{F233EE68-80EC-4565-BD07-800F87C5D3E4}"/>
              </a:ext>
            </a:extLst>
          </p:cNvPr>
          <p:cNvPicPr>
            <a:picLocks noChangeAspect="1"/>
          </p:cNvPicPr>
          <p:nvPr/>
        </p:nvPicPr>
        <p:blipFill>
          <a:blip r:embed="rId4"/>
          <a:stretch>
            <a:fillRect/>
          </a:stretch>
        </p:blipFill>
        <p:spPr>
          <a:xfrm>
            <a:off x="4656000" y="4221000"/>
            <a:ext cx="2209800" cy="2209800"/>
          </a:xfrm>
          <a:prstGeom prst="rect">
            <a:avLst/>
          </a:prstGeom>
        </p:spPr>
      </p:pic>
      <p:sp>
        <p:nvSpPr>
          <p:cNvPr id="11" name="Title 12">
            <a:extLst>
              <a:ext uri="{FF2B5EF4-FFF2-40B4-BE49-F238E27FC236}">
                <a16:creationId xmlns:a16="http://schemas.microsoft.com/office/drawing/2014/main" id="{576F486B-D184-4F89-8B2C-6ABF4836A0C8}"/>
              </a:ext>
            </a:extLst>
          </p:cNvPr>
          <p:cNvSpPr>
            <a:spLocks noGrp="1"/>
          </p:cNvSpPr>
          <p:nvPr>
            <p:ph type="title"/>
          </p:nvPr>
        </p:nvSpPr>
        <p:spPr>
          <a:xfrm>
            <a:off x="7032000" y="1341000"/>
            <a:ext cx="4500650" cy="1830078"/>
          </a:xfrm>
        </p:spPr>
        <p:txBody>
          <a:bodyPr/>
          <a:lstStyle/>
          <a:p>
            <a:pPr algn="ctr"/>
            <a:r>
              <a:rPr lang="pl-PL" sz="4000" dirty="0">
                <a:latin typeface="Ubuntu" panose="020B0804030602030204" pitchFamily="34" charset="0"/>
              </a:rPr>
              <a:t>Demo #</a:t>
            </a:r>
            <a:r>
              <a:rPr lang="en-US" sz="4000" dirty="0">
                <a:latin typeface="Ubuntu" panose="020B0804030602030204" pitchFamily="34" charset="0"/>
              </a:rPr>
              <a:t>11</a:t>
            </a:r>
            <a:endParaRPr lang="en-GB" sz="4000" dirty="0">
              <a:latin typeface="Ubuntu" panose="020B0804030602030204" pitchFamily="34" charset="0"/>
            </a:endParaRPr>
          </a:p>
        </p:txBody>
      </p:sp>
      <p:grpSp>
        <p:nvGrpSpPr>
          <p:cNvPr id="26" name="Groupe 539">
            <a:extLst>
              <a:ext uri="{FF2B5EF4-FFF2-40B4-BE49-F238E27FC236}">
                <a16:creationId xmlns:a16="http://schemas.microsoft.com/office/drawing/2014/main" id="{133E2DFF-C32A-457B-97B0-340092E2F105}"/>
              </a:ext>
            </a:extLst>
          </p:cNvPr>
          <p:cNvGrpSpPr/>
          <p:nvPr/>
        </p:nvGrpSpPr>
        <p:grpSpPr>
          <a:xfrm>
            <a:off x="7397849" y="1765447"/>
            <a:ext cx="460508" cy="449543"/>
            <a:chOff x="7834313" y="315913"/>
            <a:chExt cx="600075" cy="585787"/>
          </a:xfrm>
          <a:solidFill>
            <a:srgbClr val="12ABDB"/>
          </a:solidFill>
        </p:grpSpPr>
        <p:sp>
          <p:nvSpPr>
            <p:cNvPr id="27" name="Freeform 37">
              <a:extLst>
                <a:ext uri="{FF2B5EF4-FFF2-40B4-BE49-F238E27FC236}">
                  <a16:creationId xmlns:a16="http://schemas.microsoft.com/office/drawing/2014/main" id="{07D0F5FF-CFBA-4F28-8E1E-27E7751BA824}"/>
                </a:ext>
              </a:extLst>
            </p:cNvPr>
            <p:cNvSpPr>
              <a:spLocks/>
            </p:cNvSpPr>
            <p:nvPr/>
          </p:nvSpPr>
          <p:spPr bwMode="auto">
            <a:xfrm>
              <a:off x="7834313" y="315913"/>
              <a:ext cx="600075" cy="585787"/>
            </a:xfrm>
            <a:custGeom>
              <a:avLst/>
              <a:gdLst>
                <a:gd name="T0" fmla="*/ 88 w 177"/>
                <a:gd name="T1" fmla="*/ 0 h 171"/>
                <a:gd name="T2" fmla="*/ 67 w 177"/>
                <a:gd name="T3" fmla="*/ 19 h 171"/>
                <a:gd name="T4" fmla="*/ 84 w 177"/>
                <a:gd name="T5" fmla="*/ 38 h 171"/>
                <a:gd name="T6" fmla="*/ 84 w 177"/>
                <a:gd name="T7" fmla="*/ 58 h 171"/>
                <a:gd name="T8" fmla="*/ 65 w 177"/>
                <a:gd name="T9" fmla="*/ 68 h 171"/>
                <a:gd name="T10" fmla="*/ 44 w 177"/>
                <a:gd name="T11" fmla="*/ 58 h 171"/>
                <a:gd name="T12" fmla="*/ 34 w 177"/>
                <a:gd name="T13" fmla="*/ 35 h 171"/>
                <a:gd name="T14" fmla="*/ 23 w 177"/>
                <a:gd name="T15" fmla="*/ 33 h 171"/>
                <a:gd name="T16" fmla="*/ 6 w 177"/>
                <a:gd name="T17" fmla="*/ 42 h 171"/>
                <a:gd name="T18" fmla="*/ 5 w 177"/>
                <a:gd name="T19" fmla="*/ 42 h 171"/>
                <a:gd name="T20" fmla="*/ 5 w 177"/>
                <a:gd name="T21" fmla="*/ 42 h 171"/>
                <a:gd name="T22" fmla="*/ 13 w 177"/>
                <a:gd name="T23" fmla="*/ 68 h 171"/>
                <a:gd name="T24" fmla="*/ 40 w 177"/>
                <a:gd name="T25" fmla="*/ 64 h 171"/>
                <a:gd name="T26" fmla="*/ 61 w 177"/>
                <a:gd name="T27" fmla="*/ 75 h 171"/>
                <a:gd name="T28" fmla="*/ 58 w 177"/>
                <a:gd name="T29" fmla="*/ 85 h 171"/>
                <a:gd name="T30" fmla="*/ 61 w 177"/>
                <a:gd name="T31" fmla="*/ 95 h 171"/>
                <a:gd name="T32" fmla="*/ 40 w 177"/>
                <a:gd name="T33" fmla="*/ 106 h 171"/>
                <a:gd name="T34" fmla="*/ 24 w 177"/>
                <a:gd name="T35" fmla="*/ 99 h 171"/>
                <a:gd name="T36" fmla="*/ 13 w 177"/>
                <a:gd name="T37" fmla="*/ 102 h 171"/>
                <a:gd name="T38" fmla="*/ 5 w 177"/>
                <a:gd name="T39" fmla="*/ 128 h 171"/>
                <a:gd name="T40" fmla="*/ 6 w 177"/>
                <a:gd name="T41" fmla="*/ 128 h 171"/>
                <a:gd name="T42" fmla="*/ 34 w 177"/>
                <a:gd name="T43" fmla="*/ 135 h 171"/>
                <a:gd name="T44" fmla="*/ 44 w 177"/>
                <a:gd name="T45" fmla="*/ 113 h 171"/>
                <a:gd name="T46" fmla="*/ 65 w 177"/>
                <a:gd name="T47" fmla="*/ 102 h 171"/>
                <a:gd name="T48" fmla="*/ 84 w 177"/>
                <a:gd name="T49" fmla="*/ 112 h 171"/>
                <a:gd name="T50" fmla="*/ 84 w 177"/>
                <a:gd name="T51" fmla="*/ 132 h 171"/>
                <a:gd name="T52" fmla="*/ 67 w 177"/>
                <a:gd name="T53" fmla="*/ 151 h 171"/>
                <a:gd name="T54" fmla="*/ 88 w 177"/>
                <a:gd name="T55" fmla="*/ 171 h 171"/>
                <a:gd name="T56" fmla="*/ 109 w 177"/>
                <a:gd name="T57" fmla="*/ 151 h 171"/>
                <a:gd name="T58" fmla="*/ 92 w 177"/>
                <a:gd name="T59" fmla="*/ 132 h 171"/>
                <a:gd name="T60" fmla="*/ 92 w 177"/>
                <a:gd name="T61" fmla="*/ 112 h 171"/>
                <a:gd name="T62" fmla="*/ 112 w 177"/>
                <a:gd name="T63" fmla="*/ 102 h 171"/>
                <a:gd name="T64" fmla="*/ 133 w 177"/>
                <a:gd name="T65" fmla="*/ 113 h 171"/>
                <a:gd name="T66" fmla="*/ 142 w 177"/>
                <a:gd name="T67" fmla="*/ 135 h 171"/>
                <a:gd name="T68" fmla="*/ 171 w 177"/>
                <a:gd name="T69" fmla="*/ 128 h 171"/>
                <a:gd name="T70" fmla="*/ 163 w 177"/>
                <a:gd name="T71" fmla="*/ 102 h 171"/>
                <a:gd name="T72" fmla="*/ 152 w 177"/>
                <a:gd name="T73" fmla="*/ 99 h 171"/>
                <a:gd name="T74" fmla="*/ 136 w 177"/>
                <a:gd name="T75" fmla="*/ 106 h 171"/>
                <a:gd name="T76" fmla="*/ 116 w 177"/>
                <a:gd name="T77" fmla="*/ 95 h 171"/>
                <a:gd name="T78" fmla="*/ 118 w 177"/>
                <a:gd name="T79" fmla="*/ 85 h 171"/>
                <a:gd name="T80" fmla="*/ 116 w 177"/>
                <a:gd name="T81" fmla="*/ 75 h 171"/>
                <a:gd name="T82" fmla="*/ 136 w 177"/>
                <a:gd name="T83" fmla="*/ 64 h 171"/>
                <a:gd name="T84" fmla="*/ 163 w 177"/>
                <a:gd name="T85" fmla="*/ 68 h 171"/>
                <a:gd name="T86" fmla="*/ 163 w 177"/>
                <a:gd name="T87" fmla="*/ 68 h 171"/>
                <a:gd name="T88" fmla="*/ 163 w 177"/>
                <a:gd name="T89" fmla="*/ 68 h 171"/>
                <a:gd name="T90" fmla="*/ 171 w 177"/>
                <a:gd name="T91" fmla="*/ 42 h 171"/>
                <a:gd name="T92" fmla="*/ 171 w 177"/>
                <a:gd name="T93" fmla="*/ 42 h 171"/>
                <a:gd name="T94" fmla="*/ 153 w 177"/>
                <a:gd name="T95" fmla="*/ 33 h 171"/>
                <a:gd name="T96" fmla="*/ 142 w 177"/>
                <a:gd name="T97" fmla="*/ 35 h 171"/>
                <a:gd name="T98" fmla="*/ 142 w 177"/>
                <a:gd name="T99" fmla="*/ 35 h 171"/>
                <a:gd name="T100" fmla="*/ 133 w 177"/>
                <a:gd name="T101" fmla="*/ 58 h 171"/>
                <a:gd name="T102" fmla="*/ 112 w 177"/>
                <a:gd name="T103" fmla="*/ 68 h 171"/>
                <a:gd name="T104" fmla="*/ 92 w 177"/>
                <a:gd name="T105" fmla="*/ 58 h 171"/>
                <a:gd name="T106" fmla="*/ 92 w 177"/>
                <a:gd name="T107" fmla="*/ 38 h 171"/>
                <a:gd name="T108" fmla="*/ 109 w 177"/>
                <a:gd name="T109" fmla="*/ 19 h 171"/>
                <a:gd name="T110" fmla="*/ 88 w 177"/>
                <a:gd name="T111"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 h="171">
                  <a:moveTo>
                    <a:pt x="88" y="0"/>
                  </a:moveTo>
                  <a:cubicBezTo>
                    <a:pt x="77" y="0"/>
                    <a:pt x="67" y="8"/>
                    <a:pt x="67" y="19"/>
                  </a:cubicBezTo>
                  <a:cubicBezTo>
                    <a:pt x="67" y="28"/>
                    <a:pt x="75" y="36"/>
                    <a:pt x="84" y="38"/>
                  </a:cubicBezTo>
                  <a:cubicBezTo>
                    <a:pt x="84" y="58"/>
                    <a:pt x="84" y="58"/>
                    <a:pt x="84" y="58"/>
                  </a:cubicBezTo>
                  <a:cubicBezTo>
                    <a:pt x="77" y="59"/>
                    <a:pt x="69" y="63"/>
                    <a:pt x="65" y="68"/>
                  </a:cubicBezTo>
                  <a:cubicBezTo>
                    <a:pt x="44" y="58"/>
                    <a:pt x="44" y="58"/>
                    <a:pt x="44" y="58"/>
                  </a:cubicBezTo>
                  <a:cubicBezTo>
                    <a:pt x="47" y="49"/>
                    <a:pt x="43" y="40"/>
                    <a:pt x="34" y="35"/>
                  </a:cubicBezTo>
                  <a:cubicBezTo>
                    <a:pt x="31" y="33"/>
                    <a:pt x="27" y="32"/>
                    <a:pt x="23" y="33"/>
                  </a:cubicBezTo>
                  <a:cubicBezTo>
                    <a:pt x="16" y="33"/>
                    <a:pt x="9" y="36"/>
                    <a:pt x="6" y="42"/>
                  </a:cubicBezTo>
                  <a:cubicBezTo>
                    <a:pt x="5" y="42"/>
                    <a:pt x="5" y="42"/>
                    <a:pt x="5" y="42"/>
                  </a:cubicBezTo>
                  <a:cubicBezTo>
                    <a:pt x="5" y="42"/>
                    <a:pt x="5" y="42"/>
                    <a:pt x="5" y="42"/>
                  </a:cubicBezTo>
                  <a:cubicBezTo>
                    <a:pt x="0" y="51"/>
                    <a:pt x="3" y="63"/>
                    <a:pt x="13" y="68"/>
                  </a:cubicBezTo>
                  <a:cubicBezTo>
                    <a:pt x="23" y="73"/>
                    <a:pt x="34" y="70"/>
                    <a:pt x="40" y="64"/>
                  </a:cubicBezTo>
                  <a:cubicBezTo>
                    <a:pt x="61" y="75"/>
                    <a:pt x="61" y="75"/>
                    <a:pt x="61" y="75"/>
                  </a:cubicBezTo>
                  <a:cubicBezTo>
                    <a:pt x="59" y="78"/>
                    <a:pt x="58" y="82"/>
                    <a:pt x="58" y="85"/>
                  </a:cubicBezTo>
                  <a:cubicBezTo>
                    <a:pt x="58" y="89"/>
                    <a:pt x="59" y="92"/>
                    <a:pt x="61" y="95"/>
                  </a:cubicBezTo>
                  <a:cubicBezTo>
                    <a:pt x="40" y="106"/>
                    <a:pt x="40" y="106"/>
                    <a:pt x="40" y="106"/>
                  </a:cubicBezTo>
                  <a:cubicBezTo>
                    <a:pt x="36" y="102"/>
                    <a:pt x="30" y="99"/>
                    <a:pt x="24" y="99"/>
                  </a:cubicBezTo>
                  <a:cubicBezTo>
                    <a:pt x="20" y="99"/>
                    <a:pt x="17" y="100"/>
                    <a:pt x="13" y="102"/>
                  </a:cubicBezTo>
                  <a:cubicBezTo>
                    <a:pt x="3" y="107"/>
                    <a:pt x="0" y="119"/>
                    <a:pt x="5" y="128"/>
                  </a:cubicBezTo>
                  <a:cubicBezTo>
                    <a:pt x="6" y="128"/>
                    <a:pt x="6" y="128"/>
                    <a:pt x="6" y="128"/>
                  </a:cubicBezTo>
                  <a:cubicBezTo>
                    <a:pt x="11" y="138"/>
                    <a:pt x="24" y="141"/>
                    <a:pt x="34" y="135"/>
                  </a:cubicBezTo>
                  <a:cubicBezTo>
                    <a:pt x="43" y="131"/>
                    <a:pt x="47" y="121"/>
                    <a:pt x="44" y="113"/>
                  </a:cubicBezTo>
                  <a:cubicBezTo>
                    <a:pt x="65" y="102"/>
                    <a:pt x="65" y="102"/>
                    <a:pt x="65" y="102"/>
                  </a:cubicBezTo>
                  <a:cubicBezTo>
                    <a:pt x="69" y="107"/>
                    <a:pt x="77" y="111"/>
                    <a:pt x="84" y="112"/>
                  </a:cubicBezTo>
                  <a:cubicBezTo>
                    <a:pt x="84" y="132"/>
                    <a:pt x="84" y="132"/>
                    <a:pt x="84" y="132"/>
                  </a:cubicBezTo>
                  <a:cubicBezTo>
                    <a:pt x="75" y="134"/>
                    <a:pt x="67" y="142"/>
                    <a:pt x="67" y="151"/>
                  </a:cubicBezTo>
                  <a:cubicBezTo>
                    <a:pt x="67" y="162"/>
                    <a:pt x="77" y="171"/>
                    <a:pt x="88" y="171"/>
                  </a:cubicBezTo>
                  <a:cubicBezTo>
                    <a:pt x="100" y="171"/>
                    <a:pt x="109" y="162"/>
                    <a:pt x="109" y="151"/>
                  </a:cubicBezTo>
                  <a:cubicBezTo>
                    <a:pt x="109" y="142"/>
                    <a:pt x="102" y="134"/>
                    <a:pt x="92" y="132"/>
                  </a:cubicBezTo>
                  <a:cubicBezTo>
                    <a:pt x="92" y="112"/>
                    <a:pt x="92" y="112"/>
                    <a:pt x="92" y="112"/>
                  </a:cubicBezTo>
                  <a:cubicBezTo>
                    <a:pt x="100" y="111"/>
                    <a:pt x="107" y="107"/>
                    <a:pt x="112" y="102"/>
                  </a:cubicBezTo>
                  <a:cubicBezTo>
                    <a:pt x="133" y="113"/>
                    <a:pt x="133" y="113"/>
                    <a:pt x="133" y="113"/>
                  </a:cubicBezTo>
                  <a:cubicBezTo>
                    <a:pt x="130" y="121"/>
                    <a:pt x="134" y="131"/>
                    <a:pt x="142" y="135"/>
                  </a:cubicBezTo>
                  <a:cubicBezTo>
                    <a:pt x="155" y="141"/>
                    <a:pt x="165" y="136"/>
                    <a:pt x="171" y="128"/>
                  </a:cubicBezTo>
                  <a:cubicBezTo>
                    <a:pt x="177" y="119"/>
                    <a:pt x="173" y="107"/>
                    <a:pt x="163" y="102"/>
                  </a:cubicBezTo>
                  <a:cubicBezTo>
                    <a:pt x="160" y="100"/>
                    <a:pt x="155" y="99"/>
                    <a:pt x="152" y="99"/>
                  </a:cubicBezTo>
                  <a:cubicBezTo>
                    <a:pt x="146" y="99"/>
                    <a:pt x="141" y="102"/>
                    <a:pt x="136" y="106"/>
                  </a:cubicBezTo>
                  <a:cubicBezTo>
                    <a:pt x="116" y="95"/>
                    <a:pt x="116" y="95"/>
                    <a:pt x="116" y="95"/>
                  </a:cubicBezTo>
                  <a:cubicBezTo>
                    <a:pt x="117" y="92"/>
                    <a:pt x="118" y="89"/>
                    <a:pt x="118" y="85"/>
                  </a:cubicBezTo>
                  <a:cubicBezTo>
                    <a:pt x="118" y="82"/>
                    <a:pt x="117" y="78"/>
                    <a:pt x="116" y="75"/>
                  </a:cubicBezTo>
                  <a:cubicBezTo>
                    <a:pt x="136" y="64"/>
                    <a:pt x="136" y="64"/>
                    <a:pt x="136" y="64"/>
                  </a:cubicBezTo>
                  <a:cubicBezTo>
                    <a:pt x="143" y="71"/>
                    <a:pt x="154" y="73"/>
                    <a:pt x="163" y="68"/>
                  </a:cubicBezTo>
                  <a:cubicBezTo>
                    <a:pt x="163" y="68"/>
                    <a:pt x="163" y="68"/>
                    <a:pt x="163" y="68"/>
                  </a:cubicBezTo>
                  <a:cubicBezTo>
                    <a:pt x="163" y="68"/>
                    <a:pt x="163" y="68"/>
                    <a:pt x="163" y="68"/>
                  </a:cubicBezTo>
                  <a:cubicBezTo>
                    <a:pt x="173" y="63"/>
                    <a:pt x="177" y="51"/>
                    <a:pt x="171" y="42"/>
                  </a:cubicBezTo>
                  <a:cubicBezTo>
                    <a:pt x="171" y="42"/>
                    <a:pt x="171" y="42"/>
                    <a:pt x="171" y="42"/>
                  </a:cubicBezTo>
                  <a:cubicBezTo>
                    <a:pt x="167" y="36"/>
                    <a:pt x="160" y="33"/>
                    <a:pt x="153" y="33"/>
                  </a:cubicBezTo>
                  <a:cubicBezTo>
                    <a:pt x="149" y="32"/>
                    <a:pt x="146" y="33"/>
                    <a:pt x="142" y="35"/>
                  </a:cubicBezTo>
                  <a:cubicBezTo>
                    <a:pt x="142" y="35"/>
                    <a:pt x="142" y="35"/>
                    <a:pt x="142" y="35"/>
                  </a:cubicBezTo>
                  <a:cubicBezTo>
                    <a:pt x="134" y="40"/>
                    <a:pt x="130" y="49"/>
                    <a:pt x="133" y="58"/>
                  </a:cubicBezTo>
                  <a:cubicBezTo>
                    <a:pt x="112" y="68"/>
                    <a:pt x="112" y="68"/>
                    <a:pt x="112" y="68"/>
                  </a:cubicBezTo>
                  <a:cubicBezTo>
                    <a:pt x="107" y="63"/>
                    <a:pt x="100" y="59"/>
                    <a:pt x="92" y="58"/>
                  </a:cubicBezTo>
                  <a:cubicBezTo>
                    <a:pt x="92" y="38"/>
                    <a:pt x="92" y="38"/>
                    <a:pt x="92" y="38"/>
                  </a:cubicBezTo>
                  <a:cubicBezTo>
                    <a:pt x="102" y="36"/>
                    <a:pt x="109" y="28"/>
                    <a:pt x="109" y="19"/>
                  </a:cubicBezTo>
                  <a:cubicBezTo>
                    <a:pt x="109" y="8"/>
                    <a:pt x="100" y="0"/>
                    <a:pt x="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Oval 38">
              <a:extLst>
                <a:ext uri="{FF2B5EF4-FFF2-40B4-BE49-F238E27FC236}">
                  <a16:creationId xmlns:a16="http://schemas.microsoft.com/office/drawing/2014/main" id="{149DBC89-10BB-41B4-9FDE-CBF40BAC9456}"/>
                </a:ext>
              </a:extLst>
            </p:cNvPr>
            <p:cNvSpPr>
              <a:spLocks noChangeArrowheads="1"/>
            </p:cNvSpPr>
            <p:nvPr/>
          </p:nvSpPr>
          <p:spPr bwMode="auto">
            <a:xfrm>
              <a:off x="8088313" y="342900"/>
              <a:ext cx="88900" cy="76200"/>
            </a:xfrm>
            <a:prstGeom prst="ellipse">
              <a:avLst/>
            </a:prstGeom>
            <a:solidFill>
              <a:srgbClr val="0070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9">
              <a:extLst>
                <a:ext uri="{FF2B5EF4-FFF2-40B4-BE49-F238E27FC236}">
                  <a16:creationId xmlns:a16="http://schemas.microsoft.com/office/drawing/2014/main" id="{F68BFE2D-E8E7-4446-989C-2746B41298D4}"/>
                </a:ext>
              </a:extLst>
            </p:cNvPr>
            <p:cNvSpPr>
              <a:spLocks/>
            </p:cNvSpPr>
            <p:nvPr/>
          </p:nvSpPr>
          <p:spPr bwMode="auto">
            <a:xfrm>
              <a:off x="7866063" y="449263"/>
              <a:ext cx="101600" cy="88900"/>
            </a:xfrm>
            <a:custGeom>
              <a:avLst/>
              <a:gdLst>
                <a:gd name="T0" fmla="*/ 13 w 30"/>
                <a:gd name="T1" fmla="*/ 0 h 26"/>
                <a:gd name="T2" fmla="*/ 15 w 30"/>
                <a:gd name="T3" fmla="*/ 0 h 26"/>
                <a:gd name="T4" fmla="*/ 22 w 30"/>
                <a:gd name="T5" fmla="*/ 2 h 26"/>
                <a:gd name="T6" fmla="*/ 26 w 30"/>
                <a:gd name="T7" fmla="*/ 18 h 26"/>
                <a:gd name="T8" fmla="*/ 8 w 30"/>
                <a:gd name="T9" fmla="*/ 23 h 26"/>
                <a:gd name="T10" fmla="*/ 3 w 30"/>
                <a:gd name="T11" fmla="*/ 7 h 26"/>
                <a:gd name="T12" fmla="*/ 13 w 30"/>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30" h="26">
                  <a:moveTo>
                    <a:pt x="13" y="0"/>
                  </a:moveTo>
                  <a:cubicBezTo>
                    <a:pt x="14" y="0"/>
                    <a:pt x="15" y="0"/>
                    <a:pt x="15" y="0"/>
                  </a:cubicBezTo>
                  <a:cubicBezTo>
                    <a:pt x="17" y="1"/>
                    <a:pt x="19" y="1"/>
                    <a:pt x="22" y="2"/>
                  </a:cubicBezTo>
                  <a:cubicBezTo>
                    <a:pt x="28" y="6"/>
                    <a:pt x="30" y="13"/>
                    <a:pt x="26" y="18"/>
                  </a:cubicBezTo>
                  <a:cubicBezTo>
                    <a:pt x="23" y="24"/>
                    <a:pt x="15" y="26"/>
                    <a:pt x="8" y="23"/>
                  </a:cubicBezTo>
                  <a:cubicBezTo>
                    <a:pt x="1" y="19"/>
                    <a:pt x="0" y="11"/>
                    <a:pt x="3" y="7"/>
                  </a:cubicBezTo>
                  <a:cubicBezTo>
                    <a:pt x="6" y="1"/>
                    <a:pt x="10" y="1"/>
                    <a:pt x="13"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
              <a:extLst>
                <a:ext uri="{FF2B5EF4-FFF2-40B4-BE49-F238E27FC236}">
                  <a16:creationId xmlns:a16="http://schemas.microsoft.com/office/drawing/2014/main" id="{29B8A150-FEF9-4B8C-8F78-7D07D9FA79D4}"/>
                </a:ext>
              </a:extLst>
            </p:cNvPr>
            <p:cNvSpPr>
              <a:spLocks/>
            </p:cNvSpPr>
            <p:nvPr/>
          </p:nvSpPr>
          <p:spPr bwMode="auto">
            <a:xfrm>
              <a:off x="8297863" y="449263"/>
              <a:ext cx="101600" cy="88900"/>
            </a:xfrm>
            <a:custGeom>
              <a:avLst/>
              <a:gdLst>
                <a:gd name="T0" fmla="*/ 15 w 30"/>
                <a:gd name="T1" fmla="*/ 0 h 26"/>
                <a:gd name="T2" fmla="*/ 27 w 30"/>
                <a:gd name="T3" fmla="*/ 7 h 26"/>
                <a:gd name="T4" fmla="*/ 22 w 30"/>
                <a:gd name="T5" fmla="*/ 23 h 26"/>
                <a:gd name="T6" fmla="*/ 4 w 30"/>
                <a:gd name="T7" fmla="*/ 18 h 26"/>
                <a:gd name="T8" fmla="*/ 4 w 30"/>
                <a:gd name="T9" fmla="*/ 18 h 26"/>
                <a:gd name="T10" fmla="*/ 8 w 30"/>
                <a:gd name="T11" fmla="*/ 2 h 26"/>
                <a:gd name="T12" fmla="*/ 15 w 30"/>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30" h="26">
                  <a:moveTo>
                    <a:pt x="15" y="0"/>
                  </a:moveTo>
                  <a:cubicBezTo>
                    <a:pt x="20" y="0"/>
                    <a:pt x="24" y="3"/>
                    <a:pt x="27" y="7"/>
                  </a:cubicBezTo>
                  <a:cubicBezTo>
                    <a:pt x="30" y="12"/>
                    <a:pt x="28" y="19"/>
                    <a:pt x="22" y="23"/>
                  </a:cubicBezTo>
                  <a:cubicBezTo>
                    <a:pt x="15" y="26"/>
                    <a:pt x="7" y="24"/>
                    <a:pt x="4" y="18"/>
                  </a:cubicBezTo>
                  <a:cubicBezTo>
                    <a:pt x="4" y="18"/>
                    <a:pt x="4" y="18"/>
                    <a:pt x="4" y="18"/>
                  </a:cubicBezTo>
                  <a:cubicBezTo>
                    <a:pt x="0" y="13"/>
                    <a:pt x="2" y="6"/>
                    <a:pt x="8" y="2"/>
                  </a:cubicBezTo>
                  <a:cubicBezTo>
                    <a:pt x="11" y="1"/>
                    <a:pt x="13" y="1"/>
                    <a:pt x="15" y="0"/>
                  </a:cubicBezTo>
                  <a:close/>
                </a:path>
              </a:pathLst>
            </a:custGeom>
            <a:solidFill>
              <a:srgbClr val="A042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675116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9" name="Prostokąt 38">
            <a:extLst>
              <a:ext uri="{FF2B5EF4-FFF2-40B4-BE49-F238E27FC236}">
                <a16:creationId xmlns:a16="http://schemas.microsoft.com/office/drawing/2014/main" id="{B72053CD-1C94-433D-AC96-95D9EC661C21}"/>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0" name="Prostokąt 39">
            <a:extLst>
              <a:ext uri="{FF2B5EF4-FFF2-40B4-BE49-F238E27FC236}">
                <a16:creationId xmlns:a16="http://schemas.microsoft.com/office/drawing/2014/main" id="{2C50A052-C139-4CEB-BEAC-254EB3A151D4}"/>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1" name="Prostokąt 40">
            <a:extLst>
              <a:ext uri="{FF2B5EF4-FFF2-40B4-BE49-F238E27FC236}">
                <a16:creationId xmlns:a16="http://schemas.microsoft.com/office/drawing/2014/main" id="{928ECEC3-C962-469F-8CF6-882964E3801E}"/>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0" name="Obraz 19">
            <a:extLst>
              <a:ext uri="{FF2B5EF4-FFF2-40B4-BE49-F238E27FC236}">
                <a16:creationId xmlns:a16="http://schemas.microsoft.com/office/drawing/2014/main" id="{562B133E-B981-473D-8FF3-E41CD6D81CBB}"/>
              </a:ext>
            </a:extLst>
          </p:cNvPr>
          <p:cNvPicPr>
            <a:picLocks noChangeAspect="1"/>
          </p:cNvPicPr>
          <p:nvPr/>
        </p:nvPicPr>
        <p:blipFill>
          <a:blip r:embed="rId8"/>
          <a:stretch>
            <a:fillRect/>
          </a:stretch>
        </p:blipFill>
        <p:spPr>
          <a:xfrm>
            <a:off x="6825688" y="4862361"/>
            <a:ext cx="1089961" cy="441622"/>
          </a:xfrm>
          <a:prstGeom prst="rect">
            <a:avLst/>
          </a:prstGeom>
        </p:spPr>
      </p:pic>
      <p:pic>
        <p:nvPicPr>
          <p:cNvPr id="21" name="Obraz 20">
            <a:extLst>
              <a:ext uri="{FF2B5EF4-FFF2-40B4-BE49-F238E27FC236}">
                <a16:creationId xmlns:a16="http://schemas.microsoft.com/office/drawing/2014/main" id="{09705CF2-D85E-4DF4-B1A1-DB41A318B192}"/>
              </a:ext>
            </a:extLst>
          </p:cNvPr>
          <p:cNvPicPr>
            <a:picLocks noChangeAspect="1"/>
          </p:cNvPicPr>
          <p:nvPr/>
        </p:nvPicPr>
        <p:blipFill>
          <a:blip r:embed="rId9"/>
          <a:stretch>
            <a:fillRect/>
          </a:stretch>
        </p:blipFill>
        <p:spPr>
          <a:xfrm>
            <a:off x="6208220" y="3106611"/>
            <a:ext cx="1089961" cy="699079"/>
          </a:xfrm>
          <a:prstGeom prst="rect">
            <a:avLst/>
          </a:prstGeom>
        </p:spPr>
      </p:pic>
      <p:pic>
        <p:nvPicPr>
          <p:cNvPr id="22" name="Obraz 21">
            <a:extLst>
              <a:ext uri="{FF2B5EF4-FFF2-40B4-BE49-F238E27FC236}">
                <a16:creationId xmlns:a16="http://schemas.microsoft.com/office/drawing/2014/main" id="{3985E539-DD29-437D-A917-4CACBC2EE4E7}"/>
              </a:ext>
            </a:extLst>
          </p:cNvPr>
          <p:cNvPicPr>
            <a:picLocks noChangeAspect="1"/>
          </p:cNvPicPr>
          <p:nvPr/>
        </p:nvPicPr>
        <p:blipFill>
          <a:blip r:embed="rId10"/>
          <a:stretch>
            <a:fillRect/>
          </a:stretch>
        </p:blipFill>
        <p:spPr>
          <a:xfrm>
            <a:off x="5795964" y="1720973"/>
            <a:ext cx="902038" cy="20107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11"/>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12"/>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3" name="Łącznik prosty ze strzałką 82">
            <a:extLst>
              <a:ext uri="{FF2B5EF4-FFF2-40B4-BE49-F238E27FC236}">
                <a16:creationId xmlns:a16="http://schemas.microsoft.com/office/drawing/2014/main" id="{6303964F-DC51-4BE7-A674-EF3145CD82E0}"/>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5" name="Łącznik prosty ze strzałką 84">
            <a:extLst>
              <a:ext uri="{FF2B5EF4-FFF2-40B4-BE49-F238E27FC236}">
                <a16:creationId xmlns:a16="http://schemas.microsoft.com/office/drawing/2014/main" id="{88DC3DC1-BBCB-486D-8AEE-726FEAE6A287}"/>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7" name="Łącznik prosty ze strzałką 86">
            <a:extLst>
              <a:ext uri="{FF2B5EF4-FFF2-40B4-BE49-F238E27FC236}">
                <a16:creationId xmlns:a16="http://schemas.microsoft.com/office/drawing/2014/main" id="{760476B9-B94E-4B0D-8842-AD82315A6813}"/>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1" name="Łącznik prosty ze strzałką 90">
            <a:extLst>
              <a:ext uri="{FF2B5EF4-FFF2-40B4-BE49-F238E27FC236}">
                <a16:creationId xmlns:a16="http://schemas.microsoft.com/office/drawing/2014/main" id="{8032F3B4-9A6F-4290-9547-C0EE349B5338}"/>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pic>
        <p:nvPicPr>
          <p:cNvPr id="46" name="Obraz 45">
            <a:extLst>
              <a:ext uri="{FF2B5EF4-FFF2-40B4-BE49-F238E27FC236}">
                <a16:creationId xmlns:a16="http://schemas.microsoft.com/office/drawing/2014/main" id="{FF6CA7D8-F390-425E-9013-B93FBB53BBEF}"/>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47" name="Obraz 46">
            <a:extLst>
              <a:ext uri="{FF2B5EF4-FFF2-40B4-BE49-F238E27FC236}">
                <a16:creationId xmlns:a16="http://schemas.microsoft.com/office/drawing/2014/main" id="{D199A605-610A-4EE9-9B2F-37E4C71C013C}"/>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3" name="Dowolny kształt: kształt 2">
            <a:extLst>
              <a:ext uri="{FF2B5EF4-FFF2-40B4-BE49-F238E27FC236}">
                <a16:creationId xmlns:a16="http://schemas.microsoft.com/office/drawing/2014/main" id="{C28133CF-74FE-4B4E-9DEC-2F543CD0FC53}"/>
              </a:ext>
            </a:extLst>
          </p:cNvPr>
          <p:cNvSpPr/>
          <p:nvPr/>
        </p:nvSpPr>
        <p:spPr>
          <a:xfrm>
            <a:off x="100263" y="235097"/>
            <a:ext cx="11694046" cy="6463947"/>
          </a:xfrm>
          <a:custGeom>
            <a:avLst/>
            <a:gdLst>
              <a:gd name="connsiteX0" fmla="*/ 47783 w 11694046"/>
              <a:gd name="connsiteY0" fmla="*/ 1863669 h 6463947"/>
              <a:gd name="connsiteX1" fmla="*/ 727051 w 11694046"/>
              <a:gd name="connsiteY1" fmla="*/ 479006 h 6463947"/>
              <a:gd name="connsiteX2" fmla="*/ 1754663 w 11694046"/>
              <a:gd name="connsiteY2" fmla="*/ 174206 h 6463947"/>
              <a:gd name="connsiteX3" fmla="*/ 3670548 w 11694046"/>
              <a:gd name="connsiteY3" fmla="*/ 435463 h 6463947"/>
              <a:gd name="connsiteX4" fmla="*/ 5978320 w 11694046"/>
              <a:gd name="connsiteY4" fmla="*/ 252583 h 6463947"/>
              <a:gd name="connsiteX5" fmla="*/ 8338343 w 11694046"/>
              <a:gd name="connsiteY5" fmla="*/ 34 h 6463947"/>
              <a:gd name="connsiteX6" fmla="*/ 10471943 w 11694046"/>
              <a:gd name="connsiteY6" fmla="*/ 270000 h 6463947"/>
              <a:gd name="connsiteX7" fmla="*/ 11612766 w 11694046"/>
              <a:gd name="connsiteY7" fmla="*/ 966686 h 6463947"/>
              <a:gd name="connsiteX8" fmla="*/ 11534388 w 11694046"/>
              <a:gd name="connsiteY8" fmla="*/ 2037840 h 6463947"/>
              <a:gd name="connsiteX9" fmla="*/ 10994457 w 11694046"/>
              <a:gd name="connsiteY9" fmla="*/ 3178663 h 6463947"/>
              <a:gd name="connsiteX10" fmla="*/ 10471943 w 11694046"/>
              <a:gd name="connsiteY10" fmla="*/ 3196080 h 6463947"/>
              <a:gd name="connsiteX11" fmla="*/ 9992971 w 11694046"/>
              <a:gd name="connsiteY11" fmla="*/ 3187372 h 6463947"/>
              <a:gd name="connsiteX12" fmla="*/ 9514000 w 11694046"/>
              <a:gd name="connsiteY12" fmla="*/ 3239623 h 6463947"/>
              <a:gd name="connsiteX13" fmla="*/ 9130823 w 11694046"/>
              <a:gd name="connsiteY13" fmla="*/ 3701177 h 6463947"/>
              <a:gd name="connsiteX14" fmla="*/ 9052446 w 11694046"/>
              <a:gd name="connsiteY14" fmla="*/ 4615577 h 6463947"/>
              <a:gd name="connsiteX15" fmla="*/ 7589406 w 11694046"/>
              <a:gd name="connsiteY15" fmla="*/ 5582229 h 6463947"/>
              <a:gd name="connsiteX16" fmla="*/ 6396331 w 11694046"/>
              <a:gd name="connsiteY16" fmla="*/ 6339874 h 6463947"/>
              <a:gd name="connsiteX17" fmla="*/ 5011668 w 11694046"/>
              <a:gd name="connsiteY17" fmla="*/ 6435669 h 6463947"/>
              <a:gd name="connsiteX18" fmla="*/ 3644423 w 11694046"/>
              <a:gd name="connsiteY18" fmla="*/ 6052492 h 6463947"/>
              <a:gd name="connsiteX19" fmla="*/ 3191577 w 11694046"/>
              <a:gd name="connsiteY19" fmla="*/ 5599646 h 6463947"/>
              <a:gd name="connsiteX20" fmla="*/ 2973863 w 11694046"/>
              <a:gd name="connsiteY20" fmla="*/ 5120674 h 6463947"/>
              <a:gd name="connsiteX21" fmla="*/ 2799691 w 11694046"/>
              <a:gd name="connsiteY21" fmla="*/ 4476240 h 6463947"/>
              <a:gd name="connsiteX22" fmla="*/ 2085588 w 11694046"/>
              <a:gd name="connsiteY22" fmla="*/ 3770846 h 6463947"/>
              <a:gd name="connsiteX23" fmla="*/ 1084103 w 11694046"/>
              <a:gd name="connsiteY23" fmla="*/ 2699692 h 6463947"/>
              <a:gd name="connsiteX24" fmla="*/ 169703 w 11694046"/>
              <a:gd name="connsiteY24" fmla="*/ 2386183 h 6463947"/>
              <a:gd name="connsiteX25" fmla="*/ 47783 w 11694046"/>
              <a:gd name="connsiteY25" fmla="*/ 1863669 h 6463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694046" h="6463947">
                <a:moveTo>
                  <a:pt x="47783" y="1863669"/>
                </a:moveTo>
                <a:cubicBezTo>
                  <a:pt x="140674" y="1545806"/>
                  <a:pt x="442571" y="760583"/>
                  <a:pt x="727051" y="479006"/>
                </a:cubicBezTo>
                <a:cubicBezTo>
                  <a:pt x="1011531" y="197429"/>
                  <a:pt x="1264080" y="181463"/>
                  <a:pt x="1754663" y="174206"/>
                </a:cubicBezTo>
                <a:cubicBezTo>
                  <a:pt x="2245246" y="166949"/>
                  <a:pt x="2966605" y="422400"/>
                  <a:pt x="3670548" y="435463"/>
                </a:cubicBezTo>
                <a:cubicBezTo>
                  <a:pt x="4374491" y="448526"/>
                  <a:pt x="5200354" y="325154"/>
                  <a:pt x="5978320" y="252583"/>
                </a:cubicBezTo>
                <a:cubicBezTo>
                  <a:pt x="6756286" y="180012"/>
                  <a:pt x="7589406" y="-2869"/>
                  <a:pt x="8338343" y="34"/>
                </a:cubicBezTo>
                <a:cubicBezTo>
                  <a:pt x="9087280" y="2937"/>
                  <a:pt x="9926206" y="108891"/>
                  <a:pt x="10471943" y="270000"/>
                </a:cubicBezTo>
                <a:cubicBezTo>
                  <a:pt x="11017680" y="431109"/>
                  <a:pt x="11435692" y="672046"/>
                  <a:pt x="11612766" y="966686"/>
                </a:cubicBezTo>
                <a:cubicBezTo>
                  <a:pt x="11789840" y="1261326"/>
                  <a:pt x="11637439" y="1669177"/>
                  <a:pt x="11534388" y="2037840"/>
                </a:cubicBezTo>
                <a:cubicBezTo>
                  <a:pt x="11431337" y="2406503"/>
                  <a:pt x="11171531" y="2985623"/>
                  <a:pt x="10994457" y="3178663"/>
                </a:cubicBezTo>
                <a:cubicBezTo>
                  <a:pt x="10817383" y="3371703"/>
                  <a:pt x="10471943" y="3196080"/>
                  <a:pt x="10471943" y="3196080"/>
                </a:cubicBezTo>
                <a:cubicBezTo>
                  <a:pt x="10305029" y="3197532"/>
                  <a:pt x="10152628" y="3180115"/>
                  <a:pt x="9992971" y="3187372"/>
                </a:cubicBezTo>
                <a:cubicBezTo>
                  <a:pt x="9833314" y="3194629"/>
                  <a:pt x="9657691" y="3153989"/>
                  <a:pt x="9514000" y="3239623"/>
                </a:cubicBezTo>
                <a:cubicBezTo>
                  <a:pt x="9370309" y="3325257"/>
                  <a:pt x="9207749" y="3471851"/>
                  <a:pt x="9130823" y="3701177"/>
                </a:cubicBezTo>
                <a:cubicBezTo>
                  <a:pt x="9053897" y="3930503"/>
                  <a:pt x="9309349" y="4302068"/>
                  <a:pt x="9052446" y="4615577"/>
                </a:cubicBezTo>
                <a:cubicBezTo>
                  <a:pt x="8795543" y="4929086"/>
                  <a:pt x="8032092" y="5294846"/>
                  <a:pt x="7589406" y="5582229"/>
                </a:cubicBezTo>
                <a:cubicBezTo>
                  <a:pt x="7146720" y="5869612"/>
                  <a:pt x="6825954" y="6197634"/>
                  <a:pt x="6396331" y="6339874"/>
                </a:cubicBezTo>
                <a:cubicBezTo>
                  <a:pt x="5966708" y="6482114"/>
                  <a:pt x="5470319" y="6483566"/>
                  <a:pt x="5011668" y="6435669"/>
                </a:cubicBezTo>
                <a:cubicBezTo>
                  <a:pt x="4553017" y="6387772"/>
                  <a:pt x="3947771" y="6191829"/>
                  <a:pt x="3644423" y="6052492"/>
                </a:cubicBezTo>
                <a:cubicBezTo>
                  <a:pt x="3341075" y="5913155"/>
                  <a:pt x="3303337" y="5754949"/>
                  <a:pt x="3191577" y="5599646"/>
                </a:cubicBezTo>
                <a:cubicBezTo>
                  <a:pt x="3079817" y="5444343"/>
                  <a:pt x="3039177" y="5307908"/>
                  <a:pt x="2973863" y="5120674"/>
                </a:cubicBezTo>
                <a:cubicBezTo>
                  <a:pt x="2908549" y="4933440"/>
                  <a:pt x="2947737" y="4701211"/>
                  <a:pt x="2799691" y="4476240"/>
                </a:cubicBezTo>
                <a:cubicBezTo>
                  <a:pt x="2651645" y="4251269"/>
                  <a:pt x="2371519" y="4066937"/>
                  <a:pt x="2085588" y="3770846"/>
                </a:cubicBezTo>
                <a:cubicBezTo>
                  <a:pt x="1799657" y="3474755"/>
                  <a:pt x="1403417" y="2930469"/>
                  <a:pt x="1084103" y="2699692"/>
                </a:cubicBezTo>
                <a:cubicBezTo>
                  <a:pt x="764789" y="2468915"/>
                  <a:pt x="340972" y="2528423"/>
                  <a:pt x="169703" y="2386183"/>
                </a:cubicBezTo>
                <a:cubicBezTo>
                  <a:pt x="-1566" y="2243943"/>
                  <a:pt x="-45108" y="2181532"/>
                  <a:pt x="47783" y="1863669"/>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9" name="Dowolny kształt: kształt 8">
            <a:extLst>
              <a:ext uri="{FF2B5EF4-FFF2-40B4-BE49-F238E27FC236}">
                <a16:creationId xmlns:a16="http://schemas.microsoft.com/office/drawing/2014/main" id="{9FBE9022-0A5A-4E56-8A00-DBCAB75F6D76}"/>
              </a:ext>
            </a:extLst>
          </p:cNvPr>
          <p:cNvSpPr/>
          <p:nvPr/>
        </p:nvSpPr>
        <p:spPr>
          <a:xfrm>
            <a:off x="9796878" y="4249118"/>
            <a:ext cx="2140685" cy="2380088"/>
          </a:xfrm>
          <a:custGeom>
            <a:avLst/>
            <a:gdLst>
              <a:gd name="connsiteX0" fmla="*/ 444402 w 2140685"/>
              <a:gd name="connsiteY0" fmla="*/ 61625 h 2380088"/>
              <a:gd name="connsiteX1" fmla="*/ 1027876 w 2140685"/>
              <a:gd name="connsiteY1" fmla="*/ 35499 h 2380088"/>
              <a:gd name="connsiteX2" fmla="*/ 1489431 w 2140685"/>
              <a:gd name="connsiteY2" fmla="*/ 253213 h 2380088"/>
              <a:gd name="connsiteX3" fmla="*/ 2107739 w 2140685"/>
              <a:gd name="connsiteY3" fmla="*/ 714768 h 2380088"/>
              <a:gd name="connsiteX4" fmla="*/ 2046779 w 2140685"/>
              <a:gd name="connsiteY4" fmla="*/ 1550791 h 2380088"/>
              <a:gd name="connsiteX5" fmla="*/ 1968402 w 2140685"/>
              <a:gd name="connsiteY5" fmla="*/ 2273602 h 2380088"/>
              <a:gd name="connsiteX6" fmla="*/ 1054002 w 2140685"/>
              <a:gd name="connsiteY6" fmla="*/ 2325853 h 2380088"/>
              <a:gd name="connsiteX7" fmla="*/ 374733 w 2140685"/>
              <a:gd name="connsiteY7" fmla="*/ 1785922 h 2380088"/>
              <a:gd name="connsiteX8" fmla="*/ 265 w 2140685"/>
              <a:gd name="connsiteY8" fmla="*/ 618973 h 2380088"/>
              <a:gd name="connsiteX9" fmla="*/ 444402 w 2140685"/>
              <a:gd name="connsiteY9" fmla="*/ 61625 h 238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40685" h="2380088">
                <a:moveTo>
                  <a:pt x="444402" y="61625"/>
                </a:moveTo>
                <a:cubicBezTo>
                  <a:pt x="615670" y="-35621"/>
                  <a:pt x="853705" y="3568"/>
                  <a:pt x="1027876" y="35499"/>
                </a:cubicBezTo>
                <a:cubicBezTo>
                  <a:pt x="1202048" y="67430"/>
                  <a:pt x="1309454" y="140002"/>
                  <a:pt x="1489431" y="253213"/>
                </a:cubicBezTo>
                <a:cubicBezTo>
                  <a:pt x="1669408" y="366424"/>
                  <a:pt x="2014848" y="498505"/>
                  <a:pt x="2107739" y="714768"/>
                </a:cubicBezTo>
                <a:cubicBezTo>
                  <a:pt x="2200630" y="931031"/>
                  <a:pt x="2070002" y="1290985"/>
                  <a:pt x="2046779" y="1550791"/>
                </a:cubicBezTo>
                <a:cubicBezTo>
                  <a:pt x="2023556" y="1810597"/>
                  <a:pt x="2133865" y="2144425"/>
                  <a:pt x="1968402" y="2273602"/>
                </a:cubicBezTo>
                <a:cubicBezTo>
                  <a:pt x="1802939" y="2402779"/>
                  <a:pt x="1319613" y="2407133"/>
                  <a:pt x="1054002" y="2325853"/>
                </a:cubicBezTo>
                <a:cubicBezTo>
                  <a:pt x="788391" y="2244573"/>
                  <a:pt x="550356" y="2070402"/>
                  <a:pt x="374733" y="1785922"/>
                </a:cubicBezTo>
                <a:cubicBezTo>
                  <a:pt x="199110" y="1501442"/>
                  <a:pt x="-8444" y="902001"/>
                  <a:pt x="265" y="618973"/>
                </a:cubicBezTo>
                <a:cubicBezTo>
                  <a:pt x="8974" y="335945"/>
                  <a:pt x="273134" y="158871"/>
                  <a:pt x="444402" y="61625"/>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18781771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9" name="Prostokąt 38">
            <a:extLst>
              <a:ext uri="{FF2B5EF4-FFF2-40B4-BE49-F238E27FC236}">
                <a16:creationId xmlns:a16="http://schemas.microsoft.com/office/drawing/2014/main" id="{B72053CD-1C94-433D-AC96-95D9EC661C21}"/>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0" name="Prostokąt 39">
            <a:extLst>
              <a:ext uri="{FF2B5EF4-FFF2-40B4-BE49-F238E27FC236}">
                <a16:creationId xmlns:a16="http://schemas.microsoft.com/office/drawing/2014/main" id="{2C50A052-C139-4CEB-BEAC-254EB3A151D4}"/>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1" name="Prostokąt 40">
            <a:extLst>
              <a:ext uri="{FF2B5EF4-FFF2-40B4-BE49-F238E27FC236}">
                <a16:creationId xmlns:a16="http://schemas.microsoft.com/office/drawing/2014/main" id="{928ECEC3-C962-469F-8CF6-882964E3801E}"/>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0" name="Obraz 19">
            <a:extLst>
              <a:ext uri="{FF2B5EF4-FFF2-40B4-BE49-F238E27FC236}">
                <a16:creationId xmlns:a16="http://schemas.microsoft.com/office/drawing/2014/main" id="{562B133E-B981-473D-8FF3-E41CD6D81CBB}"/>
              </a:ext>
            </a:extLst>
          </p:cNvPr>
          <p:cNvPicPr>
            <a:picLocks noChangeAspect="1"/>
          </p:cNvPicPr>
          <p:nvPr/>
        </p:nvPicPr>
        <p:blipFill>
          <a:blip r:embed="rId8"/>
          <a:stretch>
            <a:fillRect/>
          </a:stretch>
        </p:blipFill>
        <p:spPr>
          <a:xfrm>
            <a:off x="6825688" y="4862361"/>
            <a:ext cx="1089961" cy="441622"/>
          </a:xfrm>
          <a:prstGeom prst="rect">
            <a:avLst/>
          </a:prstGeom>
        </p:spPr>
      </p:pic>
      <p:pic>
        <p:nvPicPr>
          <p:cNvPr id="21" name="Obraz 20">
            <a:extLst>
              <a:ext uri="{FF2B5EF4-FFF2-40B4-BE49-F238E27FC236}">
                <a16:creationId xmlns:a16="http://schemas.microsoft.com/office/drawing/2014/main" id="{09705CF2-D85E-4DF4-B1A1-DB41A318B192}"/>
              </a:ext>
            </a:extLst>
          </p:cNvPr>
          <p:cNvPicPr>
            <a:picLocks noChangeAspect="1"/>
          </p:cNvPicPr>
          <p:nvPr/>
        </p:nvPicPr>
        <p:blipFill>
          <a:blip r:embed="rId9"/>
          <a:stretch>
            <a:fillRect/>
          </a:stretch>
        </p:blipFill>
        <p:spPr>
          <a:xfrm>
            <a:off x="6208220" y="3106611"/>
            <a:ext cx="1089961" cy="699079"/>
          </a:xfrm>
          <a:prstGeom prst="rect">
            <a:avLst/>
          </a:prstGeom>
        </p:spPr>
      </p:pic>
      <p:pic>
        <p:nvPicPr>
          <p:cNvPr id="22" name="Obraz 21">
            <a:extLst>
              <a:ext uri="{FF2B5EF4-FFF2-40B4-BE49-F238E27FC236}">
                <a16:creationId xmlns:a16="http://schemas.microsoft.com/office/drawing/2014/main" id="{3985E539-DD29-437D-A917-4CACBC2EE4E7}"/>
              </a:ext>
            </a:extLst>
          </p:cNvPr>
          <p:cNvPicPr>
            <a:picLocks noChangeAspect="1"/>
          </p:cNvPicPr>
          <p:nvPr/>
        </p:nvPicPr>
        <p:blipFill>
          <a:blip r:embed="rId10"/>
          <a:stretch>
            <a:fillRect/>
          </a:stretch>
        </p:blipFill>
        <p:spPr>
          <a:xfrm>
            <a:off x="5795964" y="1720973"/>
            <a:ext cx="902038" cy="20107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11"/>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12"/>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3" name="Łącznik prosty ze strzałką 82">
            <a:extLst>
              <a:ext uri="{FF2B5EF4-FFF2-40B4-BE49-F238E27FC236}">
                <a16:creationId xmlns:a16="http://schemas.microsoft.com/office/drawing/2014/main" id="{6303964F-DC51-4BE7-A674-EF3145CD82E0}"/>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5" name="Łącznik prosty ze strzałką 84">
            <a:extLst>
              <a:ext uri="{FF2B5EF4-FFF2-40B4-BE49-F238E27FC236}">
                <a16:creationId xmlns:a16="http://schemas.microsoft.com/office/drawing/2014/main" id="{88DC3DC1-BBCB-486D-8AEE-726FEAE6A287}"/>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7" name="Łącznik prosty ze strzałką 86">
            <a:extLst>
              <a:ext uri="{FF2B5EF4-FFF2-40B4-BE49-F238E27FC236}">
                <a16:creationId xmlns:a16="http://schemas.microsoft.com/office/drawing/2014/main" id="{760476B9-B94E-4B0D-8842-AD82315A6813}"/>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1" name="Łącznik prosty ze strzałką 90">
            <a:extLst>
              <a:ext uri="{FF2B5EF4-FFF2-40B4-BE49-F238E27FC236}">
                <a16:creationId xmlns:a16="http://schemas.microsoft.com/office/drawing/2014/main" id="{8032F3B4-9A6F-4290-9547-C0EE349B5338}"/>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pic>
        <p:nvPicPr>
          <p:cNvPr id="46" name="Obraz 45">
            <a:extLst>
              <a:ext uri="{FF2B5EF4-FFF2-40B4-BE49-F238E27FC236}">
                <a16:creationId xmlns:a16="http://schemas.microsoft.com/office/drawing/2014/main" id="{FF6CA7D8-F390-425E-9013-B93FBB53BBEF}"/>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47" name="Obraz 46">
            <a:extLst>
              <a:ext uri="{FF2B5EF4-FFF2-40B4-BE49-F238E27FC236}">
                <a16:creationId xmlns:a16="http://schemas.microsoft.com/office/drawing/2014/main" id="{D199A605-610A-4EE9-9B2F-37E4C71C013C}"/>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3" name="Dowolny kształt: kształt 2">
            <a:extLst>
              <a:ext uri="{FF2B5EF4-FFF2-40B4-BE49-F238E27FC236}">
                <a16:creationId xmlns:a16="http://schemas.microsoft.com/office/drawing/2014/main" id="{C28133CF-74FE-4B4E-9DEC-2F543CD0FC53}"/>
              </a:ext>
            </a:extLst>
          </p:cNvPr>
          <p:cNvSpPr/>
          <p:nvPr/>
        </p:nvSpPr>
        <p:spPr>
          <a:xfrm>
            <a:off x="100263" y="235097"/>
            <a:ext cx="11694046" cy="6463947"/>
          </a:xfrm>
          <a:custGeom>
            <a:avLst/>
            <a:gdLst>
              <a:gd name="connsiteX0" fmla="*/ 47783 w 11694046"/>
              <a:gd name="connsiteY0" fmla="*/ 1863669 h 6463947"/>
              <a:gd name="connsiteX1" fmla="*/ 727051 w 11694046"/>
              <a:gd name="connsiteY1" fmla="*/ 479006 h 6463947"/>
              <a:gd name="connsiteX2" fmla="*/ 1754663 w 11694046"/>
              <a:gd name="connsiteY2" fmla="*/ 174206 h 6463947"/>
              <a:gd name="connsiteX3" fmla="*/ 3670548 w 11694046"/>
              <a:gd name="connsiteY3" fmla="*/ 435463 h 6463947"/>
              <a:gd name="connsiteX4" fmla="*/ 5978320 w 11694046"/>
              <a:gd name="connsiteY4" fmla="*/ 252583 h 6463947"/>
              <a:gd name="connsiteX5" fmla="*/ 8338343 w 11694046"/>
              <a:gd name="connsiteY5" fmla="*/ 34 h 6463947"/>
              <a:gd name="connsiteX6" fmla="*/ 10471943 w 11694046"/>
              <a:gd name="connsiteY6" fmla="*/ 270000 h 6463947"/>
              <a:gd name="connsiteX7" fmla="*/ 11612766 w 11694046"/>
              <a:gd name="connsiteY7" fmla="*/ 966686 h 6463947"/>
              <a:gd name="connsiteX8" fmla="*/ 11534388 w 11694046"/>
              <a:gd name="connsiteY8" fmla="*/ 2037840 h 6463947"/>
              <a:gd name="connsiteX9" fmla="*/ 10994457 w 11694046"/>
              <a:gd name="connsiteY9" fmla="*/ 3178663 h 6463947"/>
              <a:gd name="connsiteX10" fmla="*/ 10471943 w 11694046"/>
              <a:gd name="connsiteY10" fmla="*/ 3196080 h 6463947"/>
              <a:gd name="connsiteX11" fmla="*/ 9992971 w 11694046"/>
              <a:gd name="connsiteY11" fmla="*/ 3187372 h 6463947"/>
              <a:gd name="connsiteX12" fmla="*/ 9514000 w 11694046"/>
              <a:gd name="connsiteY12" fmla="*/ 3239623 h 6463947"/>
              <a:gd name="connsiteX13" fmla="*/ 9130823 w 11694046"/>
              <a:gd name="connsiteY13" fmla="*/ 3701177 h 6463947"/>
              <a:gd name="connsiteX14" fmla="*/ 9052446 w 11694046"/>
              <a:gd name="connsiteY14" fmla="*/ 4615577 h 6463947"/>
              <a:gd name="connsiteX15" fmla="*/ 7589406 w 11694046"/>
              <a:gd name="connsiteY15" fmla="*/ 5582229 h 6463947"/>
              <a:gd name="connsiteX16" fmla="*/ 6396331 w 11694046"/>
              <a:gd name="connsiteY16" fmla="*/ 6339874 h 6463947"/>
              <a:gd name="connsiteX17" fmla="*/ 5011668 w 11694046"/>
              <a:gd name="connsiteY17" fmla="*/ 6435669 h 6463947"/>
              <a:gd name="connsiteX18" fmla="*/ 3644423 w 11694046"/>
              <a:gd name="connsiteY18" fmla="*/ 6052492 h 6463947"/>
              <a:gd name="connsiteX19" fmla="*/ 3191577 w 11694046"/>
              <a:gd name="connsiteY19" fmla="*/ 5599646 h 6463947"/>
              <a:gd name="connsiteX20" fmla="*/ 2973863 w 11694046"/>
              <a:gd name="connsiteY20" fmla="*/ 5120674 h 6463947"/>
              <a:gd name="connsiteX21" fmla="*/ 2799691 w 11694046"/>
              <a:gd name="connsiteY21" fmla="*/ 4476240 h 6463947"/>
              <a:gd name="connsiteX22" fmla="*/ 2085588 w 11694046"/>
              <a:gd name="connsiteY22" fmla="*/ 3770846 h 6463947"/>
              <a:gd name="connsiteX23" fmla="*/ 1084103 w 11694046"/>
              <a:gd name="connsiteY23" fmla="*/ 2699692 h 6463947"/>
              <a:gd name="connsiteX24" fmla="*/ 169703 w 11694046"/>
              <a:gd name="connsiteY24" fmla="*/ 2386183 h 6463947"/>
              <a:gd name="connsiteX25" fmla="*/ 47783 w 11694046"/>
              <a:gd name="connsiteY25" fmla="*/ 1863669 h 6463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694046" h="6463947">
                <a:moveTo>
                  <a:pt x="47783" y="1863669"/>
                </a:moveTo>
                <a:cubicBezTo>
                  <a:pt x="140674" y="1545806"/>
                  <a:pt x="442571" y="760583"/>
                  <a:pt x="727051" y="479006"/>
                </a:cubicBezTo>
                <a:cubicBezTo>
                  <a:pt x="1011531" y="197429"/>
                  <a:pt x="1264080" y="181463"/>
                  <a:pt x="1754663" y="174206"/>
                </a:cubicBezTo>
                <a:cubicBezTo>
                  <a:pt x="2245246" y="166949"/>
                  <a:pt x="2966605" y="422400"/>
                  <a:pt x="3670548" y="435463"/>
                </a:cubicBezTo>
                <a:cubicBezTo>
                  <a:pt x="4374491" y="448526"/>
                  <a:pt x="5200354" y="325154"/>
                  <a:pt x="5978320" y="252583"/>
                </a:cubicBezTo>
                <a:cubicBezTo>
                  <a:pt x="6756286" y="180012"/>
                  <a:pt x="7589406" y="-2869"/>
                  <a:pt x="8338343" y="34"/>
                </a:cubicBezTo>
                <a:cubicBezTo>
                  <a:pt x="9087280" y="2937"/>
                  <a:pt x="9926206" y="108891"/>
                  <a:pt x="10471943" y="270000"/>
                </a:cubicBezTo>
                <a:cubicBezTo>
                  <a:pt x="11017680" y="431109"/>
                  <a:pt x="11435692" y="672046"/>
                  <a:pt x="11612766" y="966686"/>
                </a:cubicBezTo>
                <a:cubicBezTo>
                  <a:pt x="11789840" y="1261326"/>
                  <a:pt x="11637439" y="1669177"/>
                  <a:pt x="11534388" y="2037840"/>
                </a:cubicBezTo>
                <a:cubicBezTo>
                  <a:pt x="11431337" y="2406503"/>
                  <a:pt x="11171531" y="2985623"/>
                  <a:pt x="10994457" y="3178663"/>
                </a:cubicBezTo>
                <a:cubicBezTo>
                  <a:pt x="10817383" y="3371703"/>
                  <a:pt x="10471943" y="3196080"/>
                  <a:pt x="10471943" y="3196080"/>
                </a:cubicBezTo>
                <a:cubicBezTo>
                  <a:pt x="10305029" y="3197532"/>
                  <a:pt x="10152628" y="3180115"/>
                  <a:pt x="9992971" y="3187372"/>
                </a:cubicBezTo>
                <a:cubicBezTo>
                  <a:pt x="9833314" y="3194629"/>
                  <a:pt x="9657691" y="3153989"/>
                  <a:pt x="9514000" y="3239623"/>
                </a:cubicBezTo>
                <a:cubicBezTo>
                  <a:pt x="9370309" y="3325257"/>
                  <a:pt x="9207749" y="3471851"/>
                  <a:pt x="9130823" y="3701177"/>
                </a:cubicBezTo>
                <a:cubicBezTo>
                  <a:pt x="9053897" y="3930503"/>
                  <a:pt x="9309349" y="4302068"/>
                  <a:pt x="9052446" y="4615577"/>
                </a:cubicBezTo>
                <a:cubicBezTo>
                  <a:pt x="8795543" y="4929086"/>
                  <a:pt x="8032092" y="5294846"/>
                  <a:pt x="7589406" y="5582229"/>
                </a:cubicBezTo>
                <a:cubicBezTo>
                  <a:pt x="7146720" y="5869612"/>
                  <a:pt x="6825954" y="6197634"/>
                  <a:pt x="6396331" y="6339874"/>
                </a:cubicBezTo>
                <a:cubicBezTo>
                  <a:pt x="5966708" y="6482114"/>
                  <a:pt x="5470319" y="6483566"/>
                  <a:pt x="5011668" y="6435669"/>
                </a:cubicBezTo>
                <a:cubicBezTo>
                  <a:pt x="4553017" y="6387772"/>
                  <a:pt x="3947771" y="6191829"/>
                  <a:pt x="3644423" y="6052492"/>
                </a:cubicBezTo>
                <a:cubicBezTo>
                  <a:pt x="3341075" y="5913155"/>
                  <a:pt x="3303337" y="5754949"/>
                  <a:pt x="3191577" y="5599646"/>
                </a:cubicBezTo>
                <a:cubicBezTo>
                  <a:pt x="3079817" y="5444343"/>
                  <a:pt x="3039177" y="5307908"/>
                  <a:pt x="2973863" y="5120674"/>
                </a:cubicBezTo>
                <a:cubicBezTo>
                  <a:pt x="2908549" y="4933440"/>
                  <a:pt x="2947737" y="4701211"/>
                  <a:pt x="2799691" y="4476240"/>
                </a:cubicBezTo>
                <a:cubicBezTo>
                  <a:pt x="2651645" y="4251269"/>
                  <a:pt x="2371519" y="4066937"/>
                  <a:pt x="2085588" y="3770846"/>
                </a:cubicBezTo>
                <a:cubicBezTo>
                  <a:pt x="1799657" y="3474755"/>
                  <a:pt x="1403417" y="2930469"/>
                  <a:pt x="1084103" y="2699692"/>
                </a:cubicBezTo>
                <a:cubicBezTo>
                  <a:pt x="764789" y="2468915"/>
                  <a:pt x="340972" y="2528423"/>
                  <a:pt x="169703" y="2386183"/>
                </a:cubicBezTo>
                <a:cubicBezTo>
                  <a:pt x="-1566" y="2243943"/>
                  <a:pt x="-45108" y="2181532"/>
                  <a:pt x="47783" y="1863669"/>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9" name="Dowolny kształt: kształt 8">
            <a:extLst>
              <a:ext uri="{FF2B5EF4-FFF2-40B4-BE49-F238E27FC236}">
                <a16:creationId xmlns:a16="http://schemas.microsoft.com/office/drawing/2014/main" id="{9FBE9022-0A5A-4E56-8A00-DBCAB75F6D76}"/>
              </a:ext>
            </a:extLst>
          </p:cNvPr>
          <p:cNvSpPr/>
          <p:nvPr/>
        </p:nvSpPr>
        <p:spPr>
          <a:xfrm>
            <a:off x="9796878" y="4249118"/>
            <a:ext cx="2140685" cy="2380088"/>
          </a:xfrm>
          <a:custGeom>
            <a:avLst/>
            <a:gdLst>
              <a:gd name="connsiteX0" fmla="*/ 444402 w 2140685"/>
              <a:gd name="connsiteY0" fmla="*/ 61625 h 2380088"/>
              <a:gd name="connsiteX1" fmla="*/ 1027876 w 2140685"/>
              <a:gd name="connsiteY1" fmla="*/ 35499 h 2380088"/>
              <a:gd name="connsiteX2" fmla="*/ 1489431 w 2140685"/>
              <a:gd name="connsiteY2" fmla="*/ 253213 h 2380088"/>
              <a:gd name="connsiteX3" fmla="*/ 2107739 w 2140685"/>
              <a:gd name="connsiteY3" fmla="*/ 714768 h 2380088"/>
              <a:gd name="connsiteX4" fmla="*/ 2046779 w 2140685"/>
              <a:gd name="connsiteY4" fmla="*/ 1550791 h 2380088"/>
              <a:gd name="connsiteX5" fmla="*/ 1968402 w 2140685"/>
              <a:gd name="connsiteY5" fmla="*/ 2273602 h 2380088"/>
              <a:gd name="connsiteX6" fmla="*/ 1054002 w 2140685"/>
              <a:gd name="connsiteY6" fmla="*/ 2325853 h 2380088"/>
              <a:gd name="connsiteX7" fmla="*/ 374733 w 2140685"/>
              <a:gd name="connsiteY7" fmla="*/ 1785922 h 2380088"/>
              <a:gd name="connsiteX8" fmla="*/ 265 w 2140685"/>
              <a:gd name="connsiteY8" fmla="*/ 618973 h 2380088"/>
              <a:gd name="connsiteX9" fmla="*/ 444402 w 2140685"/>
              <a:gd name="connsiteY9" fmla="*/ 61625 h 238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40685" h="2380088">
                <a:moveTo>
                  <a:pt x="444402" y="61625"/>
                </a:moveTo>
                <a:cubicBezTo>
                  <a:pt x="615670" y="-35621"/>
                  <a:pt x="853705" y="3568"/>
                  <a:pt x="1027876" y="35499"/>
                </a:cubicBezTo>
                <a:cubicBezTo>
                  <a:pt x="1202048" y="67430"/>
                  <a:pt x="1309454" y="140002"/>
                  <a:pt x="1489431" y="253213"/>
                </a:cubicBezTo>
                <a:cubicBezTo>
                  <a:pt x="1669408" y="366424"/>
                  <a:pt x="2014848" y="498505"/>
                  <a:pt x="2107739" y="714768"/>
                </a:cubicBezTo>
                <a:cubicBezTo>
                  <a:pt x="2200630" y="931031"/>
                  <a:pt x="2070002" y="1290985"/>
                  <a:pt x="2046779" y="1550791"/>
                </a:cubicBezTo>
                <a:cubicBezTo>
                  <a:pt x="2023556" y="1810597"/>
                  <a:pt x="2133865" y="2144425"/>
                  <a:pt x="1968402" y="2273602"/>
                </a:cubicBezTo>
                <a:cubicBezTo>
                  <a:pt x="1802939" y="2402779"/>
                  <a:pt x="1319613" y="2407133"/>
                  <a:pt x="1054002" y="2325853"/>
                </a:cubicBezTo>
                <a:cubicBezTo>
                  <a:pt x="788391" y="2244573"/>
                  <a:pt x="550356" y="2070402"/>
                  <a:pt x="374733" y="1785922"/>
                </a:cubicBezTo>
                <a:cubicBezTo>
                  <a:pt x="199110" y="1501442"/>
                  <a:pt x="-8444" y="902001"/>
                  <a:pt x="265" y="618973"/>
                </a:cubicBezTo>
                <a:cubicBezTo>
                  <a:pt x="8974" y="335945"/>
                  <a:pt x="273134" y="158871"/>
                  <a:pt x="444402" y="61625"/>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8" name="pole tekstowe 47">
            <a:extLst>
              <a:ext uri="{FF2B5EF4-FFF2-40B4-BE49-F238E27FC236}">
                <a16:creationId xmlns:a16="http://schemas.microsoft.com/office/drawing/2014/main" id="{1855522C-BB8F-4184-9F18-AF51EF8AA484}"/>
              </a:ext>
            </a:extLst>
          </p:cNvPr>
          <p:cNvSpPr txBox="1"/>
          <p:nvPr/>
        </p:nvSpPr>
        <p:spPr>
          <a:xfrm>
            <a:off x="498959" y="979129"/>
            <a:ext cx="3993485"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Bind across components</a:t>
            </a:r>
          </a:p>
        </p:txBody>
      </p:sp>
      <p:sp>
        <p:nvSpPr>
          <p:cNvPr id="49" name="pole tekstowe 48">
            <a:extLst>
              <a:ext uri="{FF2B5EF4-FFF2-40B4-BE49-F238E27FC236}">
                <a16:creationId xmlns:a16="http://schemas.microsoft.com/office/drawing/2014/main" id="{66C99A6E-DAC8-4EE2-A8DE-E016557E18BC}"/>
              </a:ext>
            </a:extLst>
          </p:cNvPr>
          <p:cNvSpPr txBox="1"/>
          <p:nvPr/>
        </p:nvSpPr>
        <p:spPr>
          <a:xfrm>
            <a:off x="999008" y="1623756"/>
            <a:ext cx="4540786"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Data binding</a:t>
            </a:r>
          </a:p>
        </p:txBody>
      </p:sp>
      <p:sp>
        <p:nvSpPr>
          <p:cNvPr id="50" name="pole tekstowe 49">
            <a:extLst>
              <a:ext uri="{FF2B5EF4-FFF2-40B4-BE49-F238E27FC236}">
                <a16:creationId xmlns:a16="http://schemas.microsoft.com/office/drawing/2014/main" id="{94F0E9AB-4F2C-4139-84B6-898E0ECA226F}"/>
              </a:ext>
            </a:extLst>
          </p:cNvPr>
          <p:cNvSpPr txBox="1"/>
          <p:nvPr/>
        </p:nvSpPr>
        <p:spPr>
          <a:xfrm>
            <a:off x="1431008" y="2266679"/>
            <a:ext cx="3908991"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Fixed cascading parameters</a:t>
            </a:r>
          </a:p>
        </p:txBody>
      </p:sp>
    </p:spTree>
    <p:extLst>
      <p:ext uri="{BB962C8B-B14F-4D97-AF65-F5344CB8AC3E}">
        <p14:creationId xmlns:p14="http://schemas.microsoft.com/office/powerpoint/2010/main" val="20958804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raz 2">
            <a:extLst>
              <a:ext uri="{FF2B5EF4-FFF2-40B4-BE49-F238E27FC236}">
                <a16:creationId xmlns:a16="http://schemas.microsoft.com/office/drawing/2014/main" id="{483D7A61-DC26-40D5-896E-2CE38C9A3AF8}"/>
              </a:ext>
            </a:extLst>
          </p:cNvPr>
          <p:cNvPicPr>
            <a:picLocks noChangeAspect="1"/>
          </p:cNvPicPr>
          <p:nvPr/>
        </p:nvPicPr>
        <p:blipFill>
          <a:blip r:embed="rId3">
            <a:clrChange>
              <a:clrFrom>
                <a:srgbClr val="ECECEC"/>
              </a:clrFrom>
              <a:clrTo>
                <a:srgbClr val="ECECEC">
                  <a:alpha val="0"/>
                </a:srgbClr>
              </a:clrTo>
            </a:clrChange>
          </a:blip>
          <a:stretch>
            <a:fillRect/>
          </a:stretch>
        </p:blipFill>
        <p:spPr>
          <a:xfrm>
            <a:off x="9552000" y="4221000"/>
            <a:ext cx="2305050" cy="2305050"/>
          </a:xfrm>
          <a:prstGeom prst="rect">
            <a:avLst/>
          </a:prstGeom>
        </p:spPr>
      </p:pic>
      <p:pic>
        <p:nvPicPr>
          <p:cNvPr id="2" name="Obraz 1">
            <a:extLst>
              <a:ext uri="{FF2B5EF4-FFF2-40B4-BE49-F238E27FC236}">
                <a16:creationId xmlns:a16="http://schemas.microsoft.com/office/drawing/2014/main" id="{6D4E21C3-3EEC-4AF0-9432-EBC7A2DA1FE9}"/>
              </a:ext>
            </a:extLst>
          </p:cNvPr>
          <p:cNvPicPr>
            <a:picLocks noChangeAspect="1"/>
          </p:cNvPicPr>
          <p:nvPr/>
        </p:nvPicPr>
        <p:blipFill>
          <a:blip r:embed="rId4"/>
          <a:stretch>
            <a:fillRect/>
          </a:stretch>
        </p:blipFill>
        <p:spPr>
          <a:xfrm>
            <a:off x="480000" y="4221000"/>
            <a:ext cx="2209800" cy="2209800"/>
          </a:xfrm>
          <a:prstGeom prst="rect">
            <a:avLst/>
          </a:prstGeom>
        </p:spPr>
      </p:pic>
      <p:sp>
        <p:nvSpPr>
          <p:cNvPr id="26" name="Title 12">
            <a:extLst>
              <a:ext uri="{FF2B5EF4-FFF2-40B4-BE49-F238E27FC236}">
                <a16:creationId xmlns:a16="http://schemas.microsoft.com/office/drawing/2014/main" id="{0D19F749-E505-4672-B693-E56A69D73E0E}"/>
              </a:ext>
            </a:extLst>
          </p:cNvPr>
          <p:cNvSpPr>
            <a:spLocks noGrp="1"/>
          </p:cNvSpPr>
          <p:nvPr>
            <p:ph type="title"/>
          </p:nvPr>
        </p:nvSpPr>
        <p:spPr>
          <a:xfrm>
            <a:off x="6600000" y="1197000"/>
            <a:ext cx="4500650" cy="1830078"/>
          </a:xfrm>
        </p:spPr>
        <p:txBody>
          <a:bodyPr/>
          <a:lstStyle/>
          <a:p>
            <a:pPr algn="ctr"/>
            <a:r>
              <a:rPr lang="pl-PL" sz="4000" dirty="0">
                <a:solidFill>
                  <a:srgbClr val="00B0F0"/>
                </a:solidFill>
                <a:latin typeface="Ubuntu" panose="020B0804030602030204" pitchFamily="34" charset="0"/>
              </a:rPr>
              <a:t>Demo #</a:t>
            </a:r>
            <a:r>
              <a:rPr lang="en-US" sz="4000" dirty="0">
                <a:solidFill>
                  <a:srgbClr val="00B0F0"/>
                </a:solidFill>
                <a:latin typeface="Ubuntu" panose="020B0804030602030204" pitchFamily="34" charset="0"/>
              </a:rPr>
              <a:t>12</a:t>
            </a:r>
            <a:endParaRPr lang="en-GB" sz="4000" dirty="0">
              <a:solidFill>
                <a:srgbClr val="00B0F0"/>
              </a:solidFill>
              <a:latin typeface="Ubuntu" panose="020B0804030602030204" pitchFamily="34" charset="0"/>
            </a:endParaRPr>
          </a:p>
        </p:txBody>
      </p:sp>
      <p:grpSp>
        <p:nvGrpSpPr>
          <p:cNvPr id="12" name="Group 833">
            <a:extLst>
              <a:ext uri="{FF2B5EF4-FFF2-40B4-BE49-F238E27FC236}">
                <a16:creationId xmlns:a16="http://schemas.microsoft.com/office/drawing/2014/main" id="{7FD0438E-6DB1-4834-8E96-0BFEAF3F60A7}"/>
              </a:ext>
            </a:extLst>
          </p:cNvPr>
          <p:cNvGrpSpPr/>
          <p:nvPr/>
        </p:nvGrpSpPr>
        <p:grpSpPr>
          <a:xfrm>
            <a:off x="7049692" y="1569230"/>
            <a:ext cx="405818" cy="437272"/>
            <a:chOff x="8477038" y="4549194"/>
            <a:chExt cx="405818" cy="437272"/>
          </a:xfrm>
        </p:grpSpPr>
        <p:sp>
          <p:nvSpPr>
            <p:cNvPr id="13" name="Freeform 21">
              <a:extLst>
                <a:ext uri="{FF2B5EF4-FFF2-40B4-BE49-F238E27FC236}">
                  <a16:creationId xmlns:a16="http://schemas.microsoft.com/office/drawing/2014/main" id="{6275CD43-7971-46A6-B671-5AEF14C7A9A0}"/>
                </a:ext>
              </a:extLst>
            </p:cNvPr>
            <p:cNvSpPr>
              <a:spLocks/>
            </p:cNvSpPr>
            <p:nvPr/>
          </p:nvSpPr>
          <p:spPr bwMode="auto">
            <a:xfrm>
              <a:off x="8477038" y="4549194"/>
              <a:ext cx="55940" cy="437272"/>
            </a:xfrm>
            <a:custGeom>
              <a:avLst/>
              <a:gdLst>
                <a:gd name="T0" fmla="*/ 126 w 129"/>
                <a:gd name="T1" fmla="*/ 972 h 1010"/>
                <a:gd name="T2" fmla="*/ 75 w 129"/>
                <a:gd name="T3" fmla="*/ 976 h 1010"/>
                <a:gd name="T4" fmla="*/ 1 w 129"/>
                <a:gd name="T5" fmla="*/ 28 h 1010"/>
                <a:gd name="T6" fmla="*/ 25 w 129"/>
                <a:gd name="T7" fmla="*/ 1 h 1010"/>
                <a:gd name="T8" fmla="*/ 53 w 129"/>
                <a:gd name="T9" fmla="*/ 25 h 1010"/>
                <a:gd name="T10" fmla="*/ 126 w 129"/>
                <a:gd name="T11" fmla="*/ 972 h 1010"/>
              </a:gdLst>
              <a:ahLst/>
              <a:cxnLst>
                <a:cxn ang="0">
                  <a:pos x="T0" y="T1"/>
                </a:cxn>
                <a:cxn ang="0">
                  <a:pos x="T2" y="T3"/>
                </a:cxn>
                <a:cxn ang="0">
                  <a:pos x="T4" y="T5"/>
                </a:cxn>
                <a:cxn ang="0">
                  <a:pos x="T6" y="T7"/>
                </a:cxn>
                <a:cxn ang="0">
                  <a:pos x="T8" y="T9"/>
                </a:cxn>
                <a:cxn ang="0">
                  <a:pos x="T10" y="T11"/>
                </a:cxn>
              </a:cxnLst>
              <a:rect l="0" t="0" r="r" b="b"/>
              <a:pathLst>
                <a:path w="129" h="1010">
                  <a:moveTo>
                    <a:pt x="126" y="972"/>
                  </a:moveTo>
                  <a:cubicBezTo>
                    <a:pt x="129" y="1005"/>
                    <a:pt x="78" y="1010"/>
                    <a:pt x="75" y="976"/>
                  </a:cubicBezTo>
                  <a:cubicBezTo>
                    <a:pt x="1" y="28"/>
                    <a:pt x="1" y="28"/>
                    <a:pt x="1" y="28"/>
                  </a:cubicBezTo>
                  <a:cubicBezTo>
                    <a:pt x="0" y="13"/>
                    <a:pt x="11" y="1"/>
                    <a:pt x="25" y="1"/>
                  </a:cubicBezTo>
                  <a:cubicBezTo>
                    <a:pt x="39" y="0"/>
                    <a:pt x="52" y="11"/>
                    <a:pt x="53" y="25"/>
                  </a:cubicBezTo>
                  <a:cubicBezTo>
                    <a:pt x="77" y="341"/>
                    <a:pt x="102" y="656"/>
                    <a:pt x="126" y="972"/>
                  </a:cubicBez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endParaRPr lang="en-IE"/>
            </a:p>
          </p:txBody>
        </p:sp>
        <p:sp>
          <p:nvSpPr>
            <p:cNvPr id="14" name="Freeform 22">
              <a:extLst>
                <a:ext uri="{FF2B5EF4-FFF2-40B4-BE49-F238E27FC236}">
                  <a16:creationId xmlns:a16="http://schemas.microsoft.com/office/drawing/2014/main" id="{510FA1AD-2E81-4E6F-A879-7902FA4533A2}"/>
                </a:ext>
              </a:extLst>
            </p:cNvPr>
            <p:cNvSpPr>
              <a:spLocks noEditPoints="1"/>
            </p:cNvSpPr>
            <p:nvPr/>
          </p:nvSpPr>
          <p:spPr bwMode="auto">
            <a:xfrm>
              <a:off x="8521790" y="4559293"/>
              <a:ext cx="361066" cy="261555"/>
            </a:xfrm>
            <a:custGeom>
              <a:avLst/>
              <a:gdLst>
                <a:gd name="T0" fmla="*/ 515 w 829"/>
                <a:gd name="T1" fmla="*/ 574 h 603"/>
                <a:gd name="T2" fmla="*/ 634 w 829"/>
                <a:gd name="T3" fmla="*/ 573 h 603"/>
                <a:gd name="T4" fmla="*/ 558 w 829"/>
                <a:gd name="T5" fmla="*/ 455 h 603"/>
                <a:gd name="T6" fmla="*/ 521 w 829"/>
                <a:gd name="T7" fmla="*/ 267 h 603"/>
                <a:gd name="T8" fmla="*/ 560 w 829"/>
                <a:gd name="T9" fmla="*/ 142 h 603"/>
                <a:gd name="T10" fmla="*/ 495 w 829"/>
                <a:gd name="T11" fmla="*/ 134 h 603"/>
                <a:gd name="T12" fmla="*/ 579 w 829"/>
                <a:gd name="T13" fmla="*/ 113 h 603"/>
                <a:gd name="T14" fmla="*/ 699 w 829"/>
                <a:gd name="T15" fmla="*/ 88 h 603"/>
                <a:gd name="T16" fmla="*/ 716 w 829"/>
                <a:gd name="T17" fmla="*/ 101 h 603"/>
                <a:gd name="T18" fmla="*/ 826 w 829"/>
                <a:gd name="T19" fmla="*/ 547 h 603"/>
                <a:gd name="T20" fmla="*/ 819 w 829"/>
                <a:gd name="T21" fmla="*/ 566 h 603"/>
                <a:gd name="T22" fmla="*/ 347 w 829"/>
                <a:gd name="T23" fmla="*/ 581 h 603"/>
                <a:gd name="T24" fmla="*/ 322 w 829"/>
                <a:gd name="T25" fmla="*/ 484 h 603"/>
                <a:gd name="T26" fmla="*/ 508 w 829"/>
                <a:gd name="T27" fmla="*/ 520 h 603"/>
                <a:gd name="T28" fmla="*/ 634 w 829"/>
                <a:gd name="T29" fmla="*/ 421 h 603"/>
                <a:gd name="T30" fmla="*/ 718 w 829"/>
                <a:gd name="T31" fmla="*/ 405 h 603"/>
                <a:gd name="T32" fmla="*/ 679 w 829"/>
                <a:gd name="T33" fmla="*/ 332 h 603"/>
                <a:gd name="T34" fmla="*/ 682 w 829"/>
                <a:gd name="T35" fmla="*/ 269 h 603"/>
                <a:gd name="T36" fmla="*/ 163 w 829"/>
                <a:gd name="T37" fmla="*/ 159 h 603"/>
                <a:gd name="T38" fmla="*/ 47 w 829"/>
                <a:gd name="T39" fmla="*/ 321 h 603"/>
                <a:gd name="T40" fmla="*/ 174 w 829"/>
                <a:gd name="T41" fmla="*/ 293 h 603"/>
                <a:gd name="T42" fmla="*/ 456 w 829"/>
                <a:gd name="T43" fmla="*/ 307 h 603"/>
                <a:gd name="T44" fmla="*/ 332 w 829"/>
                <a:gd name="T45" fmla="*/ 163 h 603"/>
                <a:gd name="T46" fmla="*/ 456 w 829"/>
                <a:gd name="T47" fmla="*/ 307 h 603"/>
                <a:gd name="T48" fmla="*/ 325 w 829"/>
                <a:gd name="T49" fmla="*/ 307 h 603"/>
                <a:gd name="T50" fmla="*/ 211 w 829"/>
                <a:gd name="T51" fmla="*/ 420 h 603"/>
                <a:gd name="T52" fmla="*/ 178 w 829"/>
                <a:gd name="T53" fmla="*/ 41 h 603"/>
                <a:gd name="T54" fmla="*/ 302 w 829"/>
                <a:gd name="T55" fmla="*/ 132 h 603"/>
                <a:gd name="T56" fmla="*/ 192 w 829"/>
                <a:gd name="T57" fmla="*/ 40 h 603"/>
                <a:gd name="T58" fmla="*/ 0 w 829"/>
                <a:gd name="T59" fmla="*/ 28 h 603"/>
                <a:gd name="T60" fmla="*/ 437 w 829"/>
                <a:gd name="T61" fmla="*/ 51 h 603"/>
                <a:gd name="T62" fmla="*/ 448 w 829"/>
                <a:gd name="T63" fmla="*/ 64 h 603"/>
                <a:gd name="T64" fmla="*/ 511 w 829"/>
                <a:gd name="T65" fmla="*/ 486 h 603"/>
                <a:gd name="T66" fmla="*/ 109 w 829"/>
                <a:gd name="T67" fmla="*/ 479 h 603"/>
                <a:gd name="T68" fmla="*/ 0 w 829"/>
                <a:gd name="T69" fmla="*/ 28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29" h="603">
                  <a:moveTo>
                    <a:pt x="508" y="520"/>
                  </a:moveTo>
                  <a:cubicBezTo>
                    <a:pt x="515" y="574"/>
                    <a:pt x="515" y="574"/>
                    <a:pt x="515" y="574"/>
                  </a:cubicBezTo>
                  <a:cubicBezTo>
                    <a:pt x="546" y="576"/>
                    <a:pt x="578" y="576"/>
                    <a:pt x="609" y="574"/>
                  </a:cubicBezTo>
                  <a:cubicBezTo>
                    <a:pt x="617" y="574"/>
                    <a:pt x="626" y="573"/>
                    <a:pt x="634" y="573"/>
                  </a:cubicBezTo>
                  <a:cubicBezTo>
                    <a:pt x="613" y="450"/>
                    <a:pt x="613" y="450"/>
                    <a:pt x="613" y="450"/>
                  </a:cubicBezTo>
                  <a:cubicBezTo>
                    <a:pt x="595" y="452"/>
                    <a:pt x="577" y="454"/>
                    <a:pt x="558" y="455"/>
                  </a:cubicBezTo>
                  <a:cubicBezTo>
                    <a:pt x="553" y="428"/>
                    <a:pt x="553" y="428"/>
                    <a:pt x="553" y="428"/>
                  </a:cubicBezTo>
                  <a:cubicBezTo>
                    <a:pt x="521" y="267"/>
                    <a:pt x="521" y="267"/>
                    <a:pt x="521" y="267"/>
                  </a:cubicBezTo>
                  <a:cubicBezTo>
                    <a:pt x="539" y="266"/>
                    <a:pt x="559" y="264"/>
                    <a:pt x="580" y="261"/>
                  </a:cubicBezTo>
                  <a:cubicBezTo>
                    <a:pt x="560" y="142"/>
                    <a:pt x="560" y="142"/>
                    <a:pt x="560" y="142"/>
                  </a:cubicBezTo>
                  <a:cubicBezTo>
                    <a:pt x="537" y="145"/>
                    <a:pt x="516" y="147"/>
                    <a:pt x="498" y="147"/>
                  </a:cubicBezTo>
                  <a:cubicBezTo>
                    <a:pt x="495" y="134"/>
                    <a:pt x="495" y="134"/>
                    <a:pt x="495" y="134"/>
                  </a:cubicBezTo>
                  <a:cubicBezTo>
                    <a:pt x="493" y="122"/>
                    <a:pt x="493" y="122"/>
                    <a:pt x="493" y="122"/>
                  </a:cubicBezTo>
                  <a:cubicBezTo>
                    <a:pt x="516" y="122"/>
                    <a:pt x="547" y="118"/>
                    <a:pt x="579" y="113"/>
                  </a:cubicBezTo>
                  <a:cubicBezTo>
                    <a:pt x="626" y="106"/>
                    <a:pt x="674" y="96"/>
                    <a:pt x="699" y="88"/>
                  </a:cubicBezTo>
                  <a:cubicBezTo>
                    <a:pt x="699" y="88"/>
                    <a:pt x="699" y="88"/>
                    <a:pt x="699" y="88"/>
                  </a:cubicBezTo>
                  <a:cubicBezTo>
                    <a:pt x="701" y="88"/>
                    <a:pt x="702" y="87"/>
                    <a:pt x="704" y="87"/>
                  </a:cubicBezTo>
                  <a:cubicBezTo>
                    <a:pt x="711" y="88"/>
                    <a:pt x="716" y="94"/>
                    <a:pt x="716" y="101"/>
                  </a:cubicBezTo>
                  <a:cubicBezTo>
                    <a:pt x="710" y="221"/>
                    <a:pt x="710" y="232"/>
                    <a:pt x="705" y="330"/>
                  </a:cubicBezTo>
                  <a:cubicBezTo>
                    <a:pt x="784" y="473"/>
                    <a:pt x="729" y="373"/>
                    <a:pt x="826" y="547"/>
                  </a:cubicBezTo>
                  <a:cubicBezTo>
                    <a:pt x="826" y="548"/>
                    <a:pt x="827" y="549"/>
                    <a:pt x="827" y="550"/>
                  </a:cubicBezTo>
                  <a:cubicBezTo>
                    <a:pt x="829" y="557"/>
                    <a:pt x="825" y="564"/>
                    <a:pt x="819" y="566"/>
                  </a:cubicBezTo>
                  <a:cubicBezTo>
                    <a:pt x="772" y="580"/>
                    <a:pt x="694" y="595"/>
                    <a:pt x="610" y="600"/>
                  </a:cubicBezTo>
                  <a:cubicBezTo>
                    <a:pt x="547" y="603"/>
                    <a:pt x="404" y="595"/>
                    <a:pt x="347" y="581"/>
                  </a:cubicBezTo>
                  <a:cubicBezTo>
                    <a:pt x="342" y="580"/>
                    <a:pt x="338" y="576"/>
                    <a:pt x="337" y="571"/>
                  </a:cubicBezTo>
                  <a:cubicBezTo>
                    <a:pt x="322" y="484"/>
                    <a:pt x="322" y="484"/>
                    <a:pt x="322" y="484"/>
                  </a:cubicBezTo>
                  <a:cubicBezTo>
                    <a:pt x="374" y="485"/>
                    <a:pt x="428" y="494"/>
                    <a:pt x="489" y="517"/>
                  </a:cubicBezTo>
                  <a:cubicBezTo>
                    <a:pt x="495" y="519"/>
                    <a:pt x="501" y="520"/>
                    <a:pt x="508" y="520"/>
                  </a:cubicBezTo>
                  <a:close/>
                  <a:moveTo>
                    <a:pt x="610" y="283"/>
                  </a:moveTo>
                  <a:cubicBezTo>
                    <a:pt x="634" y="421"/>
                    <a:pt x="634" y="421"/>
                    <a:pt x="634" y="421"/>
                  </a:cubicBezTo>
                  <a:cubicBezTo>
                    <a:pt x="644" y="420"/>
                    <a:pt x="653" y="418"/>
                    <a:pt x="663" y="416"/>
                  </a:cubicBezTo>
                  <a:cubicBezTo>
                    <a:pt x="682" y="413"/>
                    <a:pt x="700" y="409"/>
                    <a:pt x="718" y="405"/>
                  </a:cubicBezTo>
                  <a:cubicBezTo>
                    <a:pt x="681" y="339"/>
                    <a:pt x="681" y="339"/>
                    <a:pt x="681" y="339"/>
                  </a:cubicBezTo>
                  <a:cubicBezTo>
                    <a:pt x="680" y="337"/>
                    <a:pt x="679" y="335"/>
                    <a:pt x="679" y="332"/>
                  </a:cubicBezTo>
                  <a:cubicBezTo>
                    <a:pt x="679" y="332"/>
                    <a:pt x="679" y="332"/>
                    <a:pt x="679" y="332"/>
                  </a:cubicBezTo>
                  <a:cubicBezTo>
                    <a:pt x="682" y="269"/>
                    <a:pt x="682" y="269"/>
                    <a:pt x="682" y="269"/>
                  </a:cubicBezTo>
                  <a:cubicBezTo>
                    <a:pt x="661" y="274"/>
                    <a:pt x="635" y="279"/>
                    <a:pt x="610" y="283"/>
                  </a:cubicBezTo>
                  <a:close/>
                  <a:moveTo>
                    <a:pt x="163" y="159"/>
                  </a:moveTo>
                  <a:cubicBezTo>
                    <a:pt x="122" y="164"/>
                    <a:pt x="80" y="172"/>
                    <a:pt x="37" y="181"/>
                  </a:cubicBezTo>
                  <a:cubicBezTo>
                    <a:pt x="47" y="321"/>
                    <a:pt x="47" y="321"/>
                    <a:pt x="47" y="321"/>
                  </a:cubicBezTo>
                  <a:cubicBezTo>
                    <a:pt x="66" y="317"/>
                    <a:pt x="85" y="313"/>
                    <a:pt x="104" y="309"/>
                  </a:cubicBezTo>
                  <a:cubicBezTo>
                    <a:pt x="127" y="303"/>
                    <a:pt x="151" y="298"/>
                    <a:pt x="174" y="293"/>
                  </a:cubicBezTo>
                  <a:cubicBezTo>
                    <a:pt x="163" y="159"/>
                    <a:pt x="163" y="159"/>
                    <a:pt x="163" y="159"/>
                  </a:cubicBezTo>
                  <a:close/>
                  <a:moveTo>
                    <a:pt x="456" y="307"/>
                  </a:moveTo>
                  <a:cubicBezTo>
                    <a:pt x="434" y="195"/>
                    <a:pt x="434" y="195"/>
                    <a:pt x="434" y="195"/>
                  </a:cubicBezTo>
                  <a:cubicBezTo>
                    <a:pt x="399" y="179"/>
                    <a:pt x="365" y="169"/>
                    <a:pt x="332" y="163"/>
                  </a:cubicBezTo>
                  <a:cubicBezTo>
                    <a:pt x="348" y="284"/>
                    <a:pt x="348" y="284"/>
                    <a:pt x="348" y="284"/>
                  </a:cubicBezTo>
                  <a:cubicBezTo>
                    <a:pt x="382" y="287"/>
                    <a:pt x="417" y="295"/>
                    <a:pt x="456" y="307"/>
                  </a:cubicBezTo>
                  <a:close/>
                  <a:moveTo>
                    <a:pt x="340" y="413"/>
                  </a:moveTo>
                  <a:cubicBezTo>
                    <a:pt x="325" y="307"/>
                    <a:pt x="325" y="307"/>
                    <a:pt x="325" y="307"/>
                  </a:cubicBezTo>
                  <a:cubicBezTo>
                    <a:pt x="282" y="304"/>
                    <a:pt x="241" y="308"/>
                    <a:pt x="202" y="314"/>
                  </a:cubicBezTo>
                  <a:cubicBezTo>
                    <a:pt x="211" y="420"/>
                    <a:pt x="211" y="420"/>
                    <a:pt x="211" y="420"/>
                  </a:cubicBezTo>
                  <a:cubicBezTo>
                    <a:pt x="252" y="414"/>
                    <a:pt x="294" y="410"/>
                    <a:pt x="340" y="413"/>
                  </a:cubicBezTo>
                  <a:close/>
                  <a:moveTo>
                    <a:pt x="178" y="41"/>
                  </a:moveTo>
                  <a:cubicBezTo>
                    <a:pt x="186" y="131"/>
                    <a:pt x="186" y="131"/>
                    <a:pt x="186" y="131"/>
                  </a:cubicBezTo>
                  <a:cubicBezTo>
                    <a:pt x="225" y="128"/>
                    <a:pt x="263" y="128"/>
                    <a:pt x="302" y="132"/>
                  </a:cubicBezTo>
                  <a:cubicBezTo>
                    <a:pt x="290" y="46"/>
                    <a:pt x="290" y="46"/>
                    <a:pt x="290" y="46"/>
                  </a:cubicBezTo>
                  <a:cubicBezTo>
                    <a:pt x="257" y="41"/>
                    <a:pt x="225" y="39"/>
                    <a:pt x="192" y="40"/>
                  </a:cubicBezTo>
                  <a:cubicBezTo>
                    <a:pt x="187" y="40"/>
                    <a:pt x="183" y="40"/>
                    <a:pt x="178" y="41"/>
                  </a:cubicBezTo>
                  <a:close/>
                  <a:moveTo>
                    <a:pt x="0" y="28"/>
                  </a:moveTo>
                  <a:cubicBezTo>
                    <a:pt x="65" y="15"/>
                    <a:pt x="127" y="4"/>
                    <a:pt x="191" y="2"/>
                  </a:cubicBezTo>
                  <a:cubicBezTo>
                    <a:pt x="271" y="0"/>
                    <a:pt x="352" y="11"/>
                    <a:pt x="437" y="51"/>
                  </a:cubicBezTo>
                  <a:cubicBezTo>
                    <a:pt x="443" y="53"/>
                    <a:pt x="446" y="59"/>
                    <a:pt x="448" y="64"/>
                  </a:cubicBezTo>
                  <a:cubicBezTo>
                    <a:pt x="448" y="64"/>
                    <a:pt x="448" y="64"/>
                    <a:pt x="448" y="64"/>
                  </a:cubicBezTo>
                  <a:cubicBezTo>
                    <a:pt x="526" y="464"/>
                    <a:pt x="526" y="464"/>
                    <a:pt x="526" y="464"/>
                  </a:cubicBezTo>
                  <a:cubicBezTo>
                    <a:pt x="528" y="474"/>
                    <a:pt x="521" y="484"/>
                    <a:pt x="511" y="486"/>
                  </a:cubicBezTo>
                  <a:cubicBezTo>
                    <a:pt x="507" y="487"/>
                    <a:pt x="504" y="487"/>
                    <a:pt x="500" y="485"/>
                  </a:cubicBezTo>
                  <a:cubicBezTo>
                    <a:pt x="343" y="427"/>
                    <a:pt x="227" y="453"/>
                    <a:pt x="109" y="479"/>
                  </a:cubicBezTo>
                  <a:cubicBezTo>
                    <a:pt x="85" y="484"/>
                    <a:pt x="60" y="490"/>
                    <a:pt x="35" y="495"/>
                  </a:cubicBezTo>
                  <a:cubicBezTo>
                    <a:pt x="23" y="339"/>
                    <a:pt x="12" y="183"/>
                    <a:pt x="0" y="28"/>
                  </a:cubicBezTo>
                  <a:close/>
                </a:path>
              </a:pathLst>
            </a:custGeom>
            <a:solidFill>
              <a:srgbClr val="A0428A"/>
            </a:solidFill>
            <a:ln>
              <a:noFill/>
            </a:ln>
          </p:spPr>
          <p:txBody>
            <a:bodyPr vert="horz" wrap="square" lIns="91440" tIns="45720" rIns="91440" bIns="45720" numCol="1" anchor="t" anchorCtr="0" compatLnSpc="1">
              <a:prstTxWarp prst="textNoShape">
                <a:avLst/>
              </a:prstTxWarp>
            </a:bodyPr>
            <a:lstStyle/>
            <a:p>
              <a:endParaRPr lang="en-IE"/>
            </a:p>
          </p:txBody>
        </p:sp>
      </p:grpSp>
    </p:spTree>
    <p:extLst>
      <p:ext uri="{BB962C8B-B14F-4D97-AF65-F5344CB8AC3E}">
        <p14:creationId xmlns:p14="http://schemas.microsoft.com/office/powerpoint/2010/main" val="17134756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9" name="Prostokąt 38">
            <a:extLst>
              <a:ext uri="{FF2B5EF4-FFF2-40B4-BE49-F238E27FC236}">
                <a16:creationId xmlns:a16="http://schemas.microsoft.com/office/drawing/2014/main" id="{B72053CD-1C94-433D-AC96-95D9EC661C21}"/>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0" name="Prostokąt 39">
            <a:extLst>
              <a:ext uri="{FF2B5EF4-FFF2-40B4-BE49-F238E27FC236}">
                <a16:creationId xmlns:a16="http://schemas.microsoft.com/office/drawing/2014/main" id="{2C50A052-C139-4CEB-BEAC-254EB3A151D4}"/>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1" name="Prostokąt 40">
            <a:extLst>
              <a:ext uri="{FF2B5EF4-FFF2-40B4-BE49-F238E27FC236}">
                <a16:creationId xmlns:a16="http://schemas.microsoft.com/office/drawing/2014/main" id="{928ECEC3-C962-469F-8CF6-882964E3801E}"/>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0" name="Obraz 19">
            <a:extLst>
              <a:ext uri="{FF2B5EF4-FFF2-40B4-BE49-F238E27FC236}">
                <a16:creationId xmlns:a16="http://schemas.microsoft.com/office/drawing/2014/main" id="{562B133E-B981-473D-8FF3-E41CD6D81CBB}"/>
              </a:ext>
            </a:extLst>
          </p:cNvPr>
          <p:cNvPicPr>
            <a:picLocks noChangeAspect="1"/>
          </p:cNvPicPr>
          <p:nvPr/>
        </p:nvPicPr>
        <p:blipFill>
          <a:blip r:embed="rId8"/>
          <a:stretch>
            <a:fillRect/>
          </a:stretch>
        </p:blipFill>
        <p:spPr>
          <a:xfrm>
            <a:off x="6825688" y="4862361"/>
            <a:ext cx="1089961" cy="441622"/>
          </a:xfrm>
          <a:prstGeom prst="rect">
            <a:avLst/>
          </a:prstGeom>
        </p:spPr>
      </p:pic>
      <p:pic>
        <p:nvPicPr>
          <p:cNvPr id="21" name="Obraz 20">
            <a:extLst>
              <a:ext uri="{FF2B5EF4-FFF2-40B4-BE49-F238E27FC236}">
                <a16:creationId xmlns:a16="http://schemas.microsoft.com/office/drawing/2014/main" id="{09705CF2-D85E-4DF4-B1A1-DB41A318B192}"/>
              </a:ext>
            </a:extLst>
          </p:cNvPr>
          <p:cNvPicPr>
            <a:picLocks noChangeAspect="1"/>
          </p:cNvPicPr>
          <p:nvPr/>
        </p:nvPicPr>
        <p:blipFill>
          <a:blip r:embed="rId9"/>
          <a:stretch>
            <a:fillRect/>
          </a:stretch>
        </p:blipFill>
        <p:spPr>
          <a:xfrm>
            <a:off x="6208220" y="3106611"/>
            <a:ext cx="1089961" cy="699079"/>
          </a:xfrm>
          <a:prstGeom prst="rect">
            <a:avLst/>
          </a:prstGeom>
        </p:spPr>
      </p:pic>
      <p:pic>
        <p:nvPicPr>
          <p:cNvPr id="22" name="Obraz 21">
            <a:extLst>
              <a:ext uri="{FF2B5EF4-FFF2-40B4-BE49-F238E27FC236}">
                <a16:creationId xmlns:a16="http://schemas.microsoft.com/office/drawing/2014/main" id="{3985E539-DD29-437D-A917-4CACBC2EE4E7}"/>
              </a:ext>
            </a:extLst>
          </p:cNvPr>
          <p:cNvPicPr>
            <a:picLocks noChangeAspect="1"/>
          </p:cNvPicPr>
          <p:nvPr/>
        </p:nvPicPr>
        <p:blipFill>
          <a:blip r:embed="rId10"/>
          <a:stretch>
            <a:fillRect/>
          </a:stretch>
        </p:blipFill>
        <p:spPr>
          <a:xfrm>
            <a:off x="5795964" y="1720973"/>
            <a:ext cx="902038" cy="20107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11"/>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12"/>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3" name="Łącznik prosty ze strzałką 82">
            <a:extLst>
              <a:ext uri="{FF2B5EF4-FFF2-40B4-BE49-F238E27FC236}">
                <a16:creationId xmlns:a16="http://schemas.microsoft.com/office/drawing/2014/main" id="{6303964F-DC51-4BE7-A674-EF3145CD82E0}"/>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5" name="Łącznik prosty ze strzałką 84">
            <a:extLst>
              <a:ext uri="{FF2B5EF4-FFF2-40B4-BE49-F238E27FC236}">
                <a16:creationId xmlns:a16="http://schemas.microsoft.com/office/drawing/2014/main" id="{88DC3DC1-BBCB-486D-8AEE-726FEAE6A287}"/>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7" name="Łącznik prosty ze strzałką 86">
            <a:extLst>
              <a:ext uri="{FF2B5EF4-FFF2-40B4-BE49-F238E27FC236}">
                <a16:creationId xmlns:a16="http://schemas.microsoft.com/office/drawing/2014/main" id="{760476B9-B94E-4B0D-8842-AD82315A6813}"/>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1" name="Łącznik prosty ze strzałką 90">
            <a:extLst>
              <a:ext uri="{FF2B5EF4-FFF2-40B4-BE49-F238E27FC236}">
                <a16:creationId xmlns:a16="http://schemas.microsoft.com/office/drawing/2014/main" id="{8032F3B4-9A6F-4290-9547-C0EE349B5338}"/>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pic>
        <p:nvPicPr>
          <p:cNvPr id="46" name="Obraz 45">
            <a:extLst>
              <a:ext uri="{FF2B5EF4-FFF2-40B4-BE49-F238E27FC236}">
                <a16:creationId xmlns:a16="http://schemas.microsoft.com/office/drawing/2014/main" id="{3CAA596C-F0C6-4937-AC62-ED8CA2087D24}"/>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47" name="Obraz 46">
            <a:extLst>
              <a:ext uri="{FF2B5EF4-FFF2-40B4-BE49-F238E27FC236}">
                <a16:creationId xmlns:a16="http://schemas.microsoft.com/office/drawing/2014/main" id="{4155F008-85CD-40AB-98D5-E16F728BE29E}"/>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9" name="Dowolny kształt: kształt 8">
            <a:extLst>
              <a:ext uri="{FF2B5EF4-FFF2-40B4-BE49-F238E27FC236}">
                <a16:creationId xmlns:a16="http://schemas.microsoft.com/office/drawing/2014/main" id="{0C630476-E6E7-4B78-9613-6B1E2704B2FA}"/>
              </a:ext>
            </a:extLst>
          </p:cNvPr>
          <p:cNvSpPr/>
          <p:nvPr/>
        </p:nvSpPr>
        <p:spPr>
          <a:xfrm>
            <a:off x="110864" y="196257"/>
            <a:ext cx="11657020" cy="6521579"/>
          </a:xfrm>
          <a:custGeom>
            <a:avLst/>
            <a:gdLst>
              <a:gd name="connsiteX0" fmla="*/ 37182 w 11657020"/>
              <a:gd name="connsiteY0" fmla="*/ 2024429 h 6521579"/>
              <a:gd name="connsiteX1" fmla="*/ 124267 w 11657020"/>
              <a:gd name="connsiteY1" fmla="*/ 1040360 h 6521579"/>
              <a:gd name="connsiteX2" fmla="*/ 890622 w 11657020"/>
              <a:gd name="connsiteY2" fmla="*/ 308840 h 6521579"/>
              <a:gd name="connsiteX3" fmla="*/ 4008290 w 11657020"/>
              <a:gd name="connsiteY3" fmla="*/ 47583 h 6521579"/>
              <a:gd name="connsiteX4" fmla="*/ 6646987 w 11657020"/>
              <a:gd name="connsiteY4" fmla="*/ 125960 h 6521579"/>
              <a:gd name="connsiteX5" fmla="*/ 8536747 w 11657020"/>
              <a:gd name="connsiteY5" fmla="*/ 21457 h 6521579"/>
              <a:gd name="connsiteX6" fmla="*/ 11070942 w 11657020"/>
              <a:gd name="connsiteY6" fmla="*/ 622349 h 6521579"/>
              <a:gd name="connsiteX7" fmla="*/ 11558622 w 11657020"/>
              <a:gd name="connsiteY7" fmla="*/ 1249366 h 6521579"/>
              <a:gd name="connsiteX8" fmla="*/ 11602165 w 11657020"/>
              <a:gd name="connsiteY8" fmla="*/ 2494692 h 6521579"/>
              <a:gd name="connsiteX9" fmla="*/ 10940313 w 11657020"/>
              <a:gd name="connsiteY9" fmla="*/ 3017206 h 6521579"/>
              <a:gd name="connsiteX10" fmla="*/ 10452633 w 11657020"/>
              <a:gd name="connsiteY10" fmla="*/ 3217503 h 6521579"/>
              <a:gd name="connsiteX11" fmla="*/ 9956245 w 11657020"/>
              <a:gd name="connsiteY11" fmla="*/ 3269754 h 6521579"/>
              <a:gd name="connsiteX12" fmla="*/ 9364062 w 11657020"/>
              <a:gd name="connsiteY12" fmla="*/ 3173960 h 6521579"/>
              <a:gd name="connsiteX13" fmla="*/ 8989593 w 11657020"/>
              <a:gd name="connsiteY13" fmla="*/ 3644223 h 6521579"/>
              <a:gd name="connsiteX14" fmla="*/ 8954759 w 11657020"/>
              <a:gd name="connsiteY14" fmla="*/ 4497663 h 6521579"/>
              <a:gd name="connsiteX15" fmla="*/ 8397410 w 11657020"/>
              <a:gd name="connsiteY15" fmla="*/ 5316269 h 6521579"/>
              <a:gd name="connsiteX16" fmla="*/ 7239170 w 11657020"/>
              <a:gd name="connsiteY16" fmla="*/ 6012954 h 6521579"/>
              <a:gd name="connsiteX17" fmla="*/ 6638279 w 11657020"/>
              <a:gd name="connsiteY17" fmla="*/ 6335172 h 6521579"/>
              <a:gd name="connsiteX18" fmla="*/ 5549707 w 11657020"/>
              <a:gd name="connsiteY18" fmla="*/ 6518052 h 6521579"/>
              <a:gd name="connsiteX19" fmla="*/ 4252130 w 11657020"/>
              <a:gd name="connsiteY19" fmla="*/ 6178417 h 6521579"/>
              <a:gd name="connsiteX20" fmla="*/ 3459650 w 11657020"/>
              <a:gd name="connsiteY20" fmla="*/ 5812657 h 6521579"/>
              <a:gd name="connsiteX21" fmla="*/ 3059056 w 11657020"/>
              <a:gd name="connsiteY21" fmla="*/ 5490440 h 6521579"/>
              <a:gd name="connsiteX22" fmla="*/ 2971970 w 11657020"/>
              <a:gd name="connsiteY22" fmla="*/ 4802463 h 6521579"/>
              <a:gd name="connsiteX23" fmla="*/ 2283993 w 11657020"/>
              <a:gd name="connsiteY23" fmla="*/ 3992566 h 6521579"/>
              <a:gd name="connsiteX24" fmla="*/ 1029959 w 11657020"/>
              <a:gd name="connsiteY24" fmla="*/ 2991080 h 6521579"/>
              <a:gd name="connsiteX25" fmla="*/ 89433 w 11657020"/>
              <a:gd name="connsiteY25" fmla="*/ 2538234 h 6521579"/>
              <a:gd name="connsiteX26" fmla="*/ 37182 w 11657020"/>
              <a:gd name="connsiteY26" fmla="*/ 2024429 h 6521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7020" h="6521579">
                <a:moveTo>
                  <a:pt x="37182" y="2024429"/>
                </a:moveTo>
                <a:cubicBezTo>
                  <a:pt x="42988" y="1774783"/>
                  <a:pt x="-17973" y="1326291"/>
                  <a:pt x="124267" y="1040360"/>
                </a:cubicBezTo>
                <a:cubicBezTo>
                  <a:pt x="266507" y="754429"/>
                  <a:pt x="243285" y="474303"/>
                  <a:pt x="890622" y="308840"/>
                </a:cubicBezTo>
                <a:cubicBezTo>
                  <a:pt x="1537959" y="143377"/>
                  <a:pt x="3048896" y="78063"/>
                  <a:pt x="4008290" y="47583"/>
                </a:cubicBezTo>
                <a:cubicBezTo>
                  <a:pt x="4967684" y="17103"/>
                  <a:pt x="5892244" y="130314"/>
                  <a:pt x="6646987" y="125960"/>
                </a:cubicBezTo>
                <a:cubicBezTo>
                  <a:pt x="7401730" y="121606"/>
                  <a:pt x="7799421" y="-61275"/>
                  <a:pt x="8536747" y="21457"/>
                </a:cubicBezTo>
                <a:cubicBezTo>
                  <a:pt x="9274073" y="104188"/>
                  <a:pt x="10567296" y="417698"/>
                  <a:pt x="11070942" y="622349"/>
                </a:cubicBezTo>
                <a:cubicBezTo>
                  <a:pt x="11574588" y="827000"/>
                  <a:pt x="11470085" y="937309"/>
                  <a:pt x="11558622" y="1249366"/>
                </a:cubicBezTo>
                <a:cubicBezTo>
                  <a:pt x="11647159" y="1561423"/>
                  <a:pt x="11705216" y="2200052"/>
                  <a:pt x="11602165" y="2494692"/>
                </a:cubicBezTo>
                <a:cubicBezTo>
                  <a:pt x="11499114" y="2789332"/>
                  <a:pt x="11131902" y="2896738"/>
                  <a:pt x="10940313" y="3017206"/>
                </a:cubicBezTo>
                <a:cubicBezTo>
                  <a:pt x="10748724" y="3137674"/>
                  <a:pt x="10616644" y="3175412"/>
                  <a:pt x="10452633" y="3217503"/>
                </a:cubicBezTo>
                <a:cubicBezTo>
                  <a:pt x="10288622" y="3259594"/>
                  <a:pt x="10137674" y="3277011"/>
                  <a:pt x="9956245" y="3269754"/>
                </a:cubicBezTo>
                <a:cubicBezTo>
                  <a:pt x="9774817" y="3262497"/>
                  <a:pt x="9525171" y="3111548"/>
                  <a:pt x="9364062" y="3173960"/>
                </a:cubicBezTo>
                <a:cubicBezTo>
                  <a:pt x="9202953" y="3236372"/>
                  <a:pt x="9057810" y="3423606"/>
                  <a:pt x="8989593" y="3644223"/>
                </a:cubicBezTo>
                <a:cubicBezTo>
                  <a:pt x="8921376" y="3864840"/>
                  <a:pt x="9053456" y="4218989"/>
                  <a:pt x="8954759" y="4497663"/>
                </a:cubicBezTo>
                <a:cubicBezTo>
                  <a:pt x="8856062" y="4776337"/>
                  <a:pt x="8683341" y="5063721"/>
                  <a:pt x="8397410" y="5316269"/>
                </a:cubicBezTo>
                <a:cubicBezTo>
                  <a:pt x="8111479" y="5568817"/>
                  <a:pt x="7532359" y="5843137"/>
                  <a:pt x="7239170" y="6012954"/>
                </a:cubicBezTo>
                <a:cubicBezTo>
                  <a:pt x="6945981" y="6182771"/>
                  <a:pt x="6919856" y="6250989"/>
                  <a:pt x="6638279" y="6335172"/>
                </a:cubicBezTo>
                <a:cubicBezTo>
                  <a:pt x="6356702" y="6419355"/>
                  <a:pt x="5947399" y="6544178"/>
                  <a:pt x="5549707" y="6518052"/>
                </a:cubicBezTo>
                <a:cubicBezTo>
                  <a:pt x="5152016" y="6491926"/>
                  <a:pt x="4600473" y="6295983"/>
                  <a:pt x="4252130" y="6178417"/>
                </a:cubicBezTo>
                <a:cubicBezTo>
                  <a:pt x="3903787" y="6060851"/>
                  <a:pt x="3658496" y="5927320"/>
                  <a:pt x="3459650" y="5812657"/>
                </a:cubicBezTo>
                <a:cubicBezTo>
                  <a:pt x="3260804" y="5697994"/>
                  <a:pt x="3140336" y="5658806"/>
                  <a:pt x="3059056" y="5490440"/>
                </a:cubicBezTo>
                <a:cubicBezTo>
                  <a:pt x="2977776" y="5322074"/>
                  <a:pt x="3101147" y="5052109"/>
                  <a:pt x="2971970" y="4802463"/>
                </a:cubicBezTo>
                <a:cubicBezTo>
                  <a:pt x="2842793" y="4552817"/>
                  <a:pt x="2607661" y="4294463"/>
                  <a:pt x="2283993" y="3992566"/>
                </a:cubicBezTo>
                <a:cubicBezTo>
                  <a:pt x="1960325" y="3690669"/>
                  <a:pt x="1395719" y="3233469"/>
                  <a:pt x="1029959" y="2991080"/>
                </a:cubicBezTo>
                <a:cubicBezTo>
                  <a:pt x="664199" y="2748691"/>
                  <a:pt x="249090" y="2697891"/>
                  <a:pt x="89433" y="2538234"/>
                </a:cubicBezTo>
                <a:cubicBezTo>
                  <a:pt x="-70224" y="2378577"/>
                  <a:pt x="31376" y="2274075"/>
                  <a:pt x="37182" y="2024429"/>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7967885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Obraz 60" descr="Obraz zawierający tekst&#10;&#10;Opis wygenerowany automatycznie">
            <a:extLst>
              <a:ext uri="{FF2B5EF4-FFF2-40B4-BE49-F238E27FC236}">
                <a16:creationId xmlns:a16="http://schemas.microsoft.com/office/drawing/2014/main" id="{9783725E-9AD2-4F64-B924-B6F3A331D33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08000" y="1197000"/>
            <a:ext cx="10440001" cy="2088000"/>
          </a:xfrm>
          <a:prstGeom prst="rect">
            <a:avLst/>
          </a:prstGeom>
        </p:spPr>
      </p:pic>
      <p:pic>
        <p:nvPicPr>
          <p:cNvPr id="63" name="Obraz 62" descr="Obraz zawierający tekst&#10;&#10;Opis wygenerowany automatycznie">
            <a:extLst>
              <a:ext uri="{FF2B5EF4-FFF2-40B4-BE49-F238E27FC236}">
                <a16:creationId xmlns:a16="http://schemas.microsoft.com/office/drawing/2014/main" id="{781FC3B9-B867-413D-BF40-B89E3B5BCC1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07999" y="3933000"/>
            <a:ext cx="10440001" cy="2088000"/>
          </a:xfrm>
          <a:prstGeom prst="rect">
            <a:avLst/>
          </a:prstGeom>
        </p:spPr>
      </p:pic>
    </p:spTree>
    <p:extLst>
      <p:ext uri="{BB962C8B-B14F-4D97-AF65-F5344CB8AC3E}">
        <p14:creationId xmlns:p14="http://schemas.microsoft.com/office/powerpoint/2010/main" val="28336336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9" name="Prostokąt 38">
            <a:extLst>
              <a:ext uri="{FF2B5EF4-FFF2-40B4-BE49-F238E27FC236}">
                <a16:creationId xmlns:a16="http://schemas.microsoft.com/office/drawing/2014/main" id="{B72053CD-1C94-433D-AC96-95D9EC661C21}"/>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0" name="Prostokąt 39">
            <a:extLst>
              <a:ext uri="{FF2B5EF4-FFF2-40B4-BE49-F238E27FC236}">
                <a16:creationId xmlns:a16="http://schemas.microsoft.com/office/drawing/2014/main" id="{2C50A052-C139-4CEB-BEAC-254EB3A151D4}"/>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1" name="Prostokąt 40">
            <a:extLst>
              <a:ext uri="{FF2B5EF4-FFF2-40B4-BE49-F238E27FC236}">
                <a16:creationId xmlns:a16="http://schemas.microsoft.com/office/drawing/2014/main" id="{928ECEC3-C962-469F-8CF6-882964E3801E}"/>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0" name="Obraz 19">
            <a:extLst>
              <a:ext uri="{FF2B5EF4-FFF2-40B4-BE49-F238E27FC236}">
                <a16:creationId xmlns:a16="http://schemas.microsoft.com/office/drawing/2014/main" id="{562B133E-B981-473D-8FF3-E41CD6D81CBB}"/>
              </a:ext>
            </a:extLst>
          </p:cNvPr>
          <p:cNvPicPr>
            <a:picLocks noChangeAspect="1"/>
          </p:cNvPicPr>
          <p:nvPr/>
        </p:nvPicPr>
        <p:blipFill>
          <a:blip r:embed="rId8"/>
          <a:stretch>
            <a:fillRect/>
          </a:stretch>
        </p:blipFill>
        <p:spPr>
          <a:xfrm>
            <a:off x="6825688" y="4862361"/>
            <a:ext cx="1089961" cy="441622"/>
          </a:xfrm>
          <a:prstGeom prst="rect">
            <a:avLst/>
          </a:prstGeom>
        </p:spPr>
      </p:pic>
      <p:pic>
        <p:nvPicPr>
          <p:cNvPr id="21" name="Obraz 20">
            <a:extLst>
              <a:ext uri="{FF2B5EF4-FFF2-40B4-BE49-F238E27FC236}">
                <a16:creationId xmlns:a16="http://schemas.microsoft.com/office/drawing/2014/main" id="{09705CF2-D85E-4DF4-B1A1-DB41A318B192}"/>
              </a:ext>
            </a:extLst>
          </p:cNvPr>
          <p:cNvPicPr>
            <a:picLocks noChangeAspect="1"/>
          </p:cNvPicPr>
          <p:nvPr/>
        </p:nvPicPr>
        <p:blipFill>
          <a:blip r:embed="rId9"/>
          <a:stretch>
            <a:fillRect/>
          </a:stretch>
        </p:blipFill>
        <p:spPr>
          <a:xfrm>
            <a:off x="6208220" y="3106611"/>
            <a:ext cx="1089961" cy="699079"/>
          </a:xfrm>
          <a:prstGeom prst="rect">
            <a:avLst/>
          </a:prstGeom>
        </p:spPr>
      </p:pic>
      <p:pic>
        <p:nvPicPr>
          <p:cNvPr id="22" name="Obraz 21">
            <a:extLst>
              <a:ext uri="{FF2B5EF4-FFF2-40B4-BE49-F238E27FC236}">
                <a16:creationId xmlns:a16="http://schemas.microsoft.com/office/drawing/2014/main" id="{3985E539-DD29-437D-A917-4CACBC2EE4E7}"/>
              </a:ext>
            </a:extLst>
          </p:cNvPr>
          <p:cNvPicPr>
            <a:picLocks noChangeAspect="1"/>
          </p:cNvPicPr>
          <p:nvPr/>
        </p:nvPicPr>
        <p:blipFill>
          <a:blip r:embed="rId10"/>
          <a:stretch>
            <a:fillRect/>
          </a:stretch>
        </p:blipFill>
        <p:spPr>
          <a:xfrm>
            <a:off x="5795964" y="1720973"/>
            <a:ext cx="902038" cy="20107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11"/>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12"/>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3" name="Łącznik prosty ze strzałką 82">
            <a:extLst>
              <a:ext uri="{FF2B5EF4-FFF2-40B4-BE49-F238E27FC236}">
                <a16:creationId xmlns:a16="http://schemas.microsoft.com/office/drawing/2014/main" id="{6303964F-DC51-4BE7-A674-EF3145CD82E0}"/>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5" name="Łącznik prosty ze strzałką 84">
            <a:extLst>
              <a:ext uri="{FF2B5EF4-FFF2-40B4-BE49-F238E27FC236}">
                <a16:creationId xmlns:a16="http://schemas.microsoft.com/office/drawing/2014/main" id="{88DC3DC1-BBCB-486D-8AEE-726FEAE6A287}"/>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7" name="Łącznik prosty ze strzałką 86">
            <a:extLst>
              <a:ext uri="{FF2B5EF4-FFF2-40B4-BE49-F238E27FC236}">
                <a16:creationId xmlns:a16="http://schemas.microsoft.com/office/drawing/2014/main" id="{760476B9-B94E-4B0D-8842-AD82315A6813}"/>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1" name="Łącznik prosty ze strzałką 90">
            <a:extLst>
              <a:ext uri="{FF2B5EF4-FFF2-40B4-BE49-F238E27FC236}">
                <a16:creationId xmlns:a16="http://schemas.microsoft.com/office/drawing/2014/main" id="{8032F3B4-9A6F-4290-9547-C0EE349B5338}"/>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pic>
        <p:nvPicPr>
          <p:cNvPr id="46" name="Obraz 45">
            <a:extLst>
              <a:ext uri="{FF2B5EF4-FFF2-40B4-BE49-F238E27FC236}">
                <a16:creationId xmlns:a16="http://schemas.microsoft.com/office/drawing/2014/main" id="{3CAA596C-F0C6-4937-AC62-ED8CA2087D24}"/>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47" name="Obraz 46">
            <a:extLst>
              <a:ext uri="{FF2B5EF4-FFF2-40B4-BE49-F238E27FC236}">
                <a16:creationId xmlns:a16="http://schemas.microsoft.com/office/drawing/2014/main" id="{4155F008-85CD-40AB-98D5-E16F728BE29E}"/>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9" name="Dowolny kształt: kształt 8">
            <a:extLst>
              <a:ext uri="{FF2B5EF4-FFF2-40B4-BE49-F238E27FC236}">
                <a16:creationId xmlns:a16="http://schemas.microsoft.com/office/drawing/2014/main" id="{0C630476-E6E7-4B78-9613-6B1E2704B2FA}"/>
              </a:ext>
            </a:extLst>
          </p:cNvPr>
          <p:cNvSpPr/>
          <p:nvPr/>
        </p:nvSpPr>
        <p:spPr>
          <a:xfrm>
            <a:off x="110864" y="196257"/>
            <a:ext cx="11657020" cy="6521579"/>
          </a:xfrm>
          <a:custGeom>
            <a:avLst/>
            <a:gdLst>
              <a:gd name="connsiteX0" fmla="*/ 37182 w 11657020"/>
              <a:gd name="connsiteY0" fmla="*/ 2024429 h 6521579"/>
              <a:gd name="connsiteX1" fmla="*/ 124267 w 11657020"/>
              <a:gd name="connsiteY1" fmla="*/ 1040360 h 6521579"/>
              <a:gd name="connsiteX2" fmla="*/ 890622 w 11657020"/>
              <a:gd name="connsiteY2" fmla="*/ 308840 h 6521579"/>
              <a:gd name="connsiteX3" fmla="*/ 4008290 w 11657020"/>
              <a:gd name="connsiteY3" fmla="*/ 47583 h 6521579"/>
              <a:gd name="connsiteX4" fmla="*/ 6646987 w 11657020"/>
              <a:gd name="connsiteY4" fmla="*/ 125960 h 6521579"/>
              <a:gd name="connsiteX5" fmla="*/ 8536747 w 11657020"/>
              <a:gd name="connsiteY5" fmla="*/ 21457 h 6521579"/>
              <a:gd name="connsiteX6" fmla="*/ 11070942 w 11657020"/>
              <a:gd name="connsiteY6" fmla="*/ 622349 h 6521579"/>
              <a:gd name="connsiteX7" fmla="*/ 11558622 w 11657020"/>
              <a:gd name="connsiteY7" fmla="*/ 1249366 h 6521579"/>
              <a:gd name="connsiteX8" fmla="*/ 11602165 w 11657020"/>
              <a:gd name="connsiteY8" fmla="*/ 2494692 h 6521579"/>
              <a:gd name="connsiteX9" fmla="*/ 10940313 w 11657020"/>
              <a:gd name="connsiteY9" fmla="*/ 3017206 h 6521579"/>
              <a:gd name="connsiteX10" fmla="*/ 10452633 w 11657020"/>
              <a:gd name="connsiteY10" fmla="*/ 3217503 h 6521579"/>
              <a:gd name="connsiteX11" fmla="*/ 9956245 w 11657020"/>
              <a:gd name="connsiteY11" fmla="*/ 3269754 h 6521579"/>
              <a:gd name="connsiteX12" fmla="*/ 9364062 w 11657020"/>
              <a:gd name="connsiteY12" fmla="*/ 3173960 h 6521579"/>
              <a:gd name="connsiteX13" fmla="*/ 8989593 w 11657020"/>
              <a:gd name="connsiteY13" fmla="*/ 3644223 h 6521579"/>
              <a:gd name="connsiteX14" fmla="*/ 8954759 w 11657020"/>
              <a:gd name="connsiteY14" fmla="*/ 4497663 h 6521579"/>
              <a:gd name="connsiteX15" fmla="*/ 8397410 w 11657020"/>
              <a:gd name="connsiteY15" fmla="*/ 5316269 h 6521579"/>
              <a:gd name="connsiteX16" fmla="*/ 7239170 w 11657020"/>
              <a:gd name="connsiteY16" fmla="*/ 6012954 h 6521579"/>
              <a:gd name="connsiteX17" fmla="*/ 6638279 w 11657020"/>
              <a:gd name="connsiteY17" fmla="*/ 6335172 h 6521579"/>
              <a:gd name="connsiteX18" fmla="*/ 5549707 w 11657020"/>
              <a:gd name="connsiteY18" fmla="*/ 6518052 h 6521579"/>
              <a:gd name="connsiteX19" fmla="*/ 4252130 w 11657020"/>
              <a:gd name="connsiteY19" fmla="*/ 6178417 h 6521579"/>
              <a:gd name="connsiteX20" fmla="*/ 3459650 w 11657020"/>
              <a:gd name="connsiteY20" fmla="*/ 5812657 h 6521579"/>
              <a:gd name="connsiteX21" fmla="*/ 3059056 w 11657020"/>
              <a:gd name="connsiteY21" fmla="*/ 5490440 h 6521579"/>
              <a:gd name="connsiteX22" fmla="*/ 2971970 w 11657020"/>
              <a:gd name="connsiteY22" fmla="*/ 4802463 h 6521579"/>
              <a:gd name="connsiteX23" fmla="*/ 2283993 w 11657020"/>
              <a:gd name="connsiteY23" fmla="*/ 3992566 h 6521579"/>
              <a:gd name="connsiteX24" fmla="*/ 1029959 w 11657020"/>
              <a:gd name="connsiteY24" fmla="*/ 2991080 h 6521579"/>
              <a:gd name="connsiteX25" fmla="*/ 89433 w 11657020"/>
              <a:gd name="connsiteY25" fmla="*/ 2538234 h 6521579"/>
              <a:gd name="connsiteX26" fmla="*/ 37182 w 11657020"/>
              <a:gd name="connsiteY26" fmla="*/ 2024429 h 6521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657020" h="6521579">
                <a:moveTo>
                  <a:pt x="37182" y="2024429"/>
                </a:moveTo>
                <a:cubicBezTo>
                  <a:pt x="42988" y="1774783"/>
                  <a:pt x="-17973" y="1326291"/>
                  <a:pt x="124267" y="1040360"/>
                </a:cubicBezTo>
                <a:cubicBezTo>
                  <a:pt x="266507" y="754429"/>
                  <a:pt x="243285" y="474303"/>
                  <a:pt x="890622" y="308840"/>
                </a:cubicBezTo>
                <a:cubicBezTo>
                  <a:pt x="1537959" y="143377"/>
                  <a:pt x="3048896" y="78063"/>
                  <a:pt x="4008290" y="47583"/>
                </a:cubicBezTo>
                <a:cubicBezTo>
                  <a:pt x="4967684" y="17103"/>
                  <a:pt x="5892244" y="130314"/>
                  <a:pt x="6646987" y="125960"/>
                </a:cubicBezTo>
                <a:cubicBezTo>
                  <a:pt x="7401730" y="121606"/>
                  <a:pt x="7799421" y="-61275"/>
                  <a:pt x="8536747" y="21457"/>
                </a:cubicBezTo>
                <a:cubicBezTo>
                  <a:pt x="9274073" y="104188"/>
                  <a:pt x="10567296" y="417698"/>
                  <a:pt x="11070942" y="622349"/>
                </a:cubicBezTo>
                <a:cubicBezTo>
                  <a:pt x="11574588" y="827000"/>
                  <a:pt x="11470085" y="937309"/>
                  <a:pt x="11558622" y="1249366"/>
                </a:cubicBezTo>
                <a:cubicBezTo>
                  <a:pt x="11647159" y="1561423"/>
                  <a:pt x="11705216" y="2200052"/>
                  <a:pt x="11602165" y="2494692"/>
                </a:cubicBezTo>
                <a:cubicBezTo>
                  <a:pt x="11499114" y="2789332"/>
                  <a:pt x="11131902" y="2896738"/>
                  <a:pt x="10940313" y="3017206"/>
                </a:cubicBezTo>
                <a:cubicBezTo>
                  <a:pt x="10748724" y="3137674"/>
                  <a:pt x="10616644" y="3175412"/>
                  <a:pt x="10452633" y="3217503"/>
                </a:cubicBezTo>
                <a:cubicBezTo>
                  <a:pt x="10288622" y="3259594"/>
                  <a:pt x="10137674" y="3277011"/>
                  <a:pt x="9956245" y="3269754"/>
                </a:cubicBezTo>
                <a:cubicBezTo>
                  <a:pt x="9774817" y="3262497"/>
                  <a:pt x="9525171" y="3111548"/>
                  <a:pt x="9364062" y="3173960"/>
                </a:cubicBezTo>
                <a:cubicBezTo>
                  <a:pt x="9202953" y="3236372"/>
                  <a:pt x="9057810" y="3423606"/>
                  <a:pt x="8989593" y="3644223"/>
                </a:cubicBezTo>
                <a:cubicBezTo>
                  <a:pt x="8921376" y="3864840"/>
                  <a:pt x="9053456" y="4218989"/>
                  <a:pt x="8954759" y="4497663"/>
                </a:cubicBezTo>
                <a:cubicBezTo>
                  <a:pt x="8856062" y="4776337"/>
                  <a:pt x="8683341" y="5063721"/>
                  <a:pt x="8397410" y="5316269"/>
                </a:cubicBezTo>
                <a:cubicBezTo>
                  <a:pt x="8111479" y="5568817"/>
                  <a:pt x="7532359" y="5843137"/>
                  <a:pt x="7239170" y="6012954"/>
                </a:cubicBezTo>
                <a:cubicBezTo>
                  <a:pt x="6945981" y="6182771"/>
                  <a:pt x="6919856" y="6250989"/>
                  <a:pt x="6638279" y="6335172"/>
                </a:cubicBezTo>
                <a:cubicBezTo>
                  <a:pt x="6356702" y="6419355"/>
                  <a:pt x="5947399" y="6544178"/>
                  <a:pt x="5549707" y="6518052"/>
                </a:cubicBezTo>
                <a:cubicBezTo>
                  <a:pt x="5152016" y="6491926"/>
                  <a:pt x="4600473" y="6295983"/>
                  <a:pt x="4252130" y="6178417"/>
                </a:cubicBezTo>
                <a:cubicBezTo>
                  <a:pt x="3903787" y="6060851"/>
                  <a:pt x="3658496" y="5927320"/>
                  <a:pt x="3459650" y="5812657"/>
                </a:cubicBezTo>
                <a:cubicBezTo>
                  <a:pt x="3260804" y="5697994"/>
                  <a:pt x="3140336" y="5658806"/>
                  <a:pt x="3059056" y="5490440"/>
                </a:cubicBezTo>
                <a:cubicBezTo>
                  <a:pt x="2977776" y="5322074"/>
                  <a:pt x="3101147" y="5052109"/>
                  <a:pt x="2971970" y="4802463"/>
                </a:cubicBezTo>
                <a:cubicBezTo>
                  <a:pt x="2842793" y="4552817"/>
                  <a:pt x="2607661" y="4294463"/>
                  <a:pt x="2283993" y="3992566"/>
                </a:cubicBezTo>
                <a:cubicBezTo>
                  <a:pt x="1960325" y="3690669"/>
                  <a:pt x="1395719" y="3233469"/>
                  <a:pt x="1029959" y="2991080"/>
                </a:cubicBezTo>
                <a:cubicBezTo>
                  <a:pt x="664199" y="2748691"/>
                  <a:pt x="249090" y="2697891"/>
                  <a:pt x="89433" y="2538234"/>
                </a:cubicBezTo>
                <a:cubicBezTo>
                  <a:pt x="-70224" y="2378577"/>
                  <a:pt x="31376" y="2274075"/>
                  <a:pt x="37182" y="2024429"/>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8" name="pole tekstowe 47">
            <a:extLst>
              <a:ext uri="{FF2B5EF4-FFF2-40B4-BE49-F238E27FC236}">
                <a16:creationId xmlns:a16="http://schemas.microsoft.com/office/drawing/2014/main" id="{BB1B876A-4AA8-4E35-A601-C8A06CBA24CE}"/>
              </a:ext>
            </a:extLst>
          </p:cNvPr>
          <p:cNvSpPr txBox="1"/>
          <p:nvPr/>
        </p:nvSpPr>
        <p:spPr>
          <a:xfrm>
            <a:off x="498959" y="979129"/>
            <a:ext cx="4229041"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Self-referencing cascading value</a:t>
            </a:r>
          </a:p>
        </p:txBody>
      </p:sp>
    </p:spTree>
    <p:extLst>
      <p:ext uri="{BB962C8B-B14F-4D97-AF65-F5344CB8AC3E}">
        <p14:creationId xmlns:p14="http://schemas.microsoft.com/office/powerpoint/2010/main" val="29759880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1141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1147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315578" y="981000"/>
            <a:ext cx="5636422" cy="1785257"/>
          </a:xfrm>
        </p:spPr>
        <p:txBody>
          <a:bodyPr/>
          <a:lstStyle/>
          <a:p>
            <a:pPr algn="ctr"/>
            <a:r>
              <a:rPr lang="pl-PL" sz="4000" dirty="0">
                <a:solidFill>
                  <a:srgbClr val="0070AD"/>
                </a:solidFill>
                <a:latin typeface="Ubuntu" panose="020B0804030602030204" pitchFamily="34" charset="0"/>
              </a:rPr>
              <a:t>Demo #01</a:t>
            </a:r>
            <a:endParaRPr lang="en-GB" sz="4000" dirty="0">
              <a:solidFill>
                <a:srgbClr val="0070AD"/>
              </a:solidFill>
              <a:latin typeface="Ubuntu" panose="020B0804030602030204" pitchFamily="34" charset="0"/>
            </a:endParaRPr>
          </a:p>
        </p:txBody>
      </p:sp>
      <p:pic>
        <p:nvPicPr>
          <p:cNvPr id="2" name="Obraz 1">
            <a:extLst>
              <a:ext uri="{FF2B5EF4-FFF2-40B4-BE49-F238E27FC236}">
                <a16:creationId xmlns:a16="http://schemas.microsoft.com/office/drawing/2014/main" id="{5971416E-F1B0-43B5-92B9-D2F19DB9F4E8}"/>
              </a:ext>
            </a:extLst>
          </p:cNvPr>
          <p:cNvPicPr>
            <a:picLocks noChangeAspect="1"/>
          </p:cNvPicPr>
          <p:nvPr/>
        </p:nvPicPr>
        <p:blipFill>
          <a:blip r:embed="rId3"/>
          <a:stretch>
            <a:fillRect/>
          </a:stretch>
        </p:blipFill>
        <p:spPr>
          <a:xfrm>
            <a:off x="235059" y="4293000"/>
            <a:ext cx="2209800" cy="2209800"/>
          </a:xfrm>
          <a:prstGeom prst="rect">
            <a:avLst/>
          </a:prstGeom>
        </p:spPr>
      </p:pic>
      <p:pic>
        <p:nvPicPr>
          <p:cNvPr id="4" name="Obraz 3">
            <a:extLst>
              <a:ext uri="{FF2B5EF4-FFF2-40B4-BE49-F238E27FC236}">
                <a16:creationId xmlns:a16="http://schemas.microsoft.com/office/drawing/2014/main" id="{78D31ED1-95F2-4613-A543-6A9CCB3726FF}"/>
              </a:ext>
            </a:extLst>
          </p:cNvPr>
          <p:cNvPicPr>
            <a:picLocks noChangeAspect="1"/>
          </p:cNvPicPr>
          <p:nvPr/>
        </p:nvPicPr>
        <p:blipFill>
          <a:blip r:embed="rId4">
            <a:clrChange>
              <a:clrFrom>
                <a:srgbClr val="ECECEC"/>
              </a:clrFrom>
              <a:clrTo>
                <a:srgbClr val="ECECEC">
                  <a:alpha val="0"/>
                </a:srgbClr>
              </a:clrTo>
            </a:clrChange>
          </a:blip>
          <a:stretch>
            <a:fillRect/>
          </a:stretch>
        </p:blipFill>
        <p:spPr>
          <a:xfrm>
            <a:off x="7032000" y="4293000"/>
            <a:ext cx="2305050" cy="2305050"/>
          </a:xfrm>
          <a:prstGeom prst="rect">
            <a:avLst/>
          </a:prstGeom>
        </p:spPr>
      </p:pic>
      <p:sp>
        <p:nvSpPr>
          <p:cNvPr id="9" name="Freeform 28">
            <a:extLst>
              <a:ext uri="{FF2B5EF4-FFF2-40B4-BE49-F238E27FC236}">
                <a16:creationId xmlns:a16="http://schemas.microsoft.com/office/drawing/2014/main" id="{9DAB7053-6980-48DC-9A39-F3627662D6AC}"/>
              </a:ext>
            </a:extLst>
          </p:cNvPr>
          <p:cNvSpPr>
            <a:spLocks/>
          </p:cNvSpPr>
          <p:nvPr/>
        </p:nvSpPr>
        <p:spPr bwMode="auto">
          <a:xfrm>
            <a:off x="1419607" y="1439813"/>
            <a:ext cx="292697" cy="297187"/>
          </a:xfrm>
          <a:custGeom>
            <a:avLst/>
            <a:gdLst>
              <a:gd name="T0" fmla="*/ 745 w 898"/>
              <a:gd name="T1" fmla="*/ 263 h 912"/>
              <a:gd name="T2" fmla="*/ 449 w 898"/>
              <a:gd name="T3" fmla="*/ 0 h 912"/>
              <a:gd name="T4" fmla="*/ 153 w 898"/>
              <a:gd name="T5" fmla="*/ 263 h 912"/>
              <a:gd name="T6" fmla="*/ 77 w 898"/>
              <a:gd name="T7" fmla="*/ 331 h 912"/>
              <a:gd name="T8" fmla="*/ 0 w 898"/>
              <a:gd name="T9" fmla="*/ 399 h 912"/>
              <a:gd name="T10" fmla="*/ 0 w 898"/>
              <a:gd name="T11" fmla="*/ 835 h 912"/>
              <a:gd name="T12" fmla="*/ 77 w 898"/>
              <a:gd name="T13" fmla="*/ 912 h 912"/>
              <a:gd name="T14" fmla="*/ 287 w 898"/>
              <a:gd name="T15" fmla="*/ 912 h 912"/>
              <a:gd name="T16" fmla="*/ 287 w 898"/>
              <a:gd name="T17" fmla="*/ 835 h 912"/>
              <a:gd name="T18" fmla="*/ 287 w 898"/>
              <a:gd name="T19" fmla="*/ 758 h 912"/>
              <a:gd name="T20" fmla="*/ 287 w 898"/>
              <a:gd name="T21" fmla="*/ 537 h 912"/>
              <a:gd name="T22" fmla="*/ 611 w 898"/>
              <a:gd name="T23" fmla="*/ 537 h 912"/>
              <a:gd name="T24" fmla="*/ 611 w 898"/>
              <a:gd name="T25" fmla="*/ 758 h 912"/>
              <a:gd name="T26" fmla="*/ 611 w 898"/>
              <a:gd name="T27" fmla="*/ 835 h 912"/>
              <a:gd name="T28" fmla="*/ 611 w 898"/>
              <a:gd name="T29" fmla="*/ 912 h 912"/>
              <a:gd name="T30" fmla="*/ 821 w 898"/>
              <a:gd name="T31" fmla="*/ 912 h 912"/>
              <a:gd name="T32" fmla="*/ 898 w 898"/>
              <a:gd name="T33" fmla="*/ 835 h 912"/>
              <a:gd name="T34" fmla="*/ 898 w 898"/>
              <a:gd name="T35" fmla="*/ 399 h 912"/>
              <a:gd name="T36" fmla="*/ 821 w 898"/>
              <a:gd name="T37" fmla="*/ 331 h 912"/>
              <a:gd name="T38" fmla="*/ 745 w 898"/>
              <a:gd name="T39" fmla="*/ 263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8" h="912">
                <a:moveTo>
                  <a:pt x="745" y="263"/>
                </a:moveTo>
                <a:cubicBezTo>
                  <a:pt x="449" y="0"/>
                  <a:pt x="449" y="0"/>
                  <a:pt x="449" y="0"/>
                </a:cubicBezTo>
                <a:cubicBezTo>
                  <a:pt x="153" y="263"/>
                  <a:pt x="153" y="263"/>
                  <a:pt x="153" y="263"/>
                </a:cubicBezTo>
                <a:cubicBezTo>
                  <a:pt x="77" y="331"/>
                  <a:pt x="77" y="331"/>
                  <a:pt x="77" y="331"/>
                </a:cubicBezTo>
                <a:cubicBezTo>
                  <a:pt x="0" y="399"/>
                  <a:pt x="0" y="399"/>
                  <a:pt x="0" y="399"/>
                </a:cubicBezTo>
                <a:cubicBezTo>
                  <a:pt x="0" y="835"/>
                  <a:pt x="0" y="835"/>
                  <a:pt x="0" y="835"/>
                </a:cubicBezTo>
                <a:cubicBezTo>
                  <a:pt x="0" y="877"/>
                  <a:pt x="34" y="912"/>
                  <a:pt x="77" y="912"/>
                </a:cubicBezTo>
                <a:cubicBezTo>
                  <a:pt x="287" y="912"/>
                  <a:pt x="287" y="912"/>
                  <a:pt x="287" y="912"/>
                </a:cubicBezTo>
                <a:cubicBezTo>
                  <a:pt x="287" y="835"/>
                  <a:pt x="287" y="835"/>
                  <a:pt x="287" y="835"/>
                </a:cubicBezTo>
                <a:cubicBezTo>
                  <a:pt x="287" y="758"/>
                  <a:pt x="287" y="758"/>
                  <a:pt x="287" y="758"/>
                </a:cubicBezTo>
                <a:cubicBezTo>
                  <a:pt x="287" y="537"/>
                  <a:pt x="287" y="537"/>
                  <a:pt x="287" y="537"/>
                </a:cubicBezTo>
                <a:cubicBezTo>
                  <a:pt x="611" y="537"/>
                  <a:pt x="611" y="537"/>
                  <a:pt x="611" y="537"/>
                </a:cubicBezTo>
                <a:cubicBezTo>
                  <a:pt x="611" y="758"/>
                  <a:pt x="611" y="758"/>
                  <a:pt x="611" y="758"/>
                </a:cubicBezTo>
                <a:cubicBezTo>
                  <a:pt x="611" y="835"/>
                  <a:pt x="611" y="835"/>
                  <a:pt x="611" y="835"/>
                </a:cubicBezTo>
                <a:cubicBezTo>
                  <a:pt x="611" y="912"/>
                  <a:pt x="611" y="912"/>
                  <a:pt x="611" y="912"/>
                </a:cubicBezTo>
                <a:cubicBezTo>
                  <a:pt x="821" y="912"/>
                  <a:pt x="821" y="912"/>
                  <a:pt x="821" y="912"/>
                </a:cubicBezTo>
                <a:cubicBezTo>
                  <a:pt x="864" y="912"/>
                  <a:pt x="898" y="877"/>
                  <a:pt x="898" y="835"/>
                </a:cubicBezTo>
                <a:cubicBezTo>
                  <a:pt x="898" y="399"/>
                  <a:pt x="898" y="399"/>
                  <a:pt x="898" y="399"/>
                </a:cubicBezTo>
                <a:cubicBezTo>
                  <a:pt x="821" y="331"/>
                  <a:pt x="821" y="331"/>
                  <a:pt x="821" y="331"/>
                </a:cubicBezTo>
                <a:lnTo>
                  <a:pt x="745" y="263"/>
                </a:lnTo>
                <a:close/>
              </a:path>
            </a:pathLst>
          </a:custGeom>
          <a:solidFill>
            <a:srgbClr val="7E39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29">
            <a:extLst>
              <a:ext uri="{FF2B5EF4-FFF2-40B4-BE49-F238E27FC236}">
                <a16:creationId xmlns:a16="http://schemas.microsoft.com/office/drawing/2014/main" id="{003E47BD-B4C9-47F1-9DBA-C7EA92EE9901}"/>
              </a:ext>
            </a:extLst>
          </p:cNvPr>
          <p:cNvSpPr>
            <a:spLocks/>
          </p:cNvSpPr>
          <p:nvPr/>
        </p:nvSpPr>
        <p:spPr bwMode="auto">
          <a:xfrm>
            <a:off x="1344000" y="1341000"/>
            <a:ext cx="443162" cy="227569"/>
          </a:xfrm>
          <a:custGeom>
            <a:avLst/>
            <a:gdLst>
              <a:gd name="T0" fmla="*/ 1324 w 1358"/>
              <a:gd name="T1" fmla="*/ 554 h 697"/>
              <a:gd name="T2" fmla="*/ 730 w 1358"/>
              <a:gd name="T3" fmla="*/ 26 h 697"/>
              <a:gd name="T4" fmla="*/ 628 w 1358"/>
              <a:gd name="T5" fmla="*/ 26 h 697"/>
              <a:gd name="T6" fmla="*/ 34 w 1358"/>
              <a:gd name="T7" fmla="*/ 554 h 697"/>
              <a:gd name="T8" fmla="*/ 28 w 1358"/>
              <a:gd name="T9" fmla="*/ 662 h 697"/>
              <a:gd name="T10" fmla="*/ 85 w 1358"/>
              <a:gd name="T11" fmla="*/ 688 h 697"/>
              <a:gd name="T12" fmla="*/ 136 w 1358"/>
              <a:gd name="T13" fmla="*/ 669 h 697"/>
              <a:gd name="T14" fmla="*/ 230 w 1358"/>
              <a:gd name="T15" fmla="*/ 586 h 697"/>
              <a:gd name="T16" fmla="*/ 307 w 1358"/>
              <a:gd name="T17" fmla="*/ 517 h 697"/>
              <a:gd name="T18" fmla="*/ 679 w 1358"/>
              <a:gd name="T19" fmla="*/ 186 h 697"/>
              <a:gd name="T20" fmla="*/ 1051 w 1358"/>
              <a:gd name="T21" fmla="*/ 517 h 697"/>
              <a:gd name="T22" fmla="*/ 1128 w 1358"/>
              <a:gd name="T23" fmla="*/ 586 h 697"/>
              <a:gd name="T24" fmla="*/ 1222 w 1358"/>
              <a:gd name="T25" fmla="*/ 669 h 697"/>
              <a:gd name="T26" fmla="*/ 1330 w 1358"/>
              <a:gd name="T27" fmla="*/ 662 h 697"/>
              <a:gd name="T28" fmla="*/ 1324 w 1358"/>
              <a:gd name="T29" fmla="*/ 554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8" h="697">
                <a:moveTo>
                  <a:pt x="1324" y="554"/>
                </a:moveTo>
                <a:cubicBezTo>
                  <a:pt x="730" y="26"/>
                  <a:pt x="730" y="26"/>
                  <a:pt x="730" y="26"/>
                </a:cubicBezTo>
                <a:cubicBezTo>
                  <a:pt x="701" y="0"/>
                  <a:pt x="657" y="0"/>
                  <a:pt x="628" y="26"/>
                </a:cubicBezTo>
                <a:cubicBezTo>
                  <a:pt x="34" y="554"/>
                  <a:pt x="34" y="554"/>
                  <a:pt x="34" y="554"/>
                </a:cubicBezTo>
                <a:cubicBezTo>
                  <a:pt x="3" y="582"/>
                  <a:pt x="0" y="631"/>
                  <a:pt x="28" y="662"/>
                </a:cubicBezTo>
                <a:cubicBezTo>
                  <a:pt x="43" y="679"/>
                  <a:pt x="64" y="688"/>
                  <a:pt x="85" y="688"/>
                </a:cubicBezTo>
                <a:cubicBezTo>
                  <a:pt x="104" y="688"/>
                  <a:pt x="122" y="682"/>
                  <a:pt x="136" y="669"/>
                </a:cubicBezTo>
                <a:cubicBezTo>
                  <a:pt x="230" y="586"/>
                  <a:pt x="230" y="586"/>
                  <a:pt x="230" y="586"/>
                </a:cubicBezTo>
                <a:cubicBezTo>
                  <a:pt x="307" y="517"/>
                  <a:pt x="307" y="517"/>
                  <a:pt x="307" y="517"/>
                </a:cubicBezTo>
                <a:cubicBezTo>
                  <a:pt x="679" y="186"/>
                  <a:pt x="679" y="186"/>
                  <a:pt x="679" y="186"/>
                </a:cubicBezTo>
                <a:cubicBezTo>
                  <a:pt x="1051" y="517"/>
                  <a:pt x="1051" y="517"/>
                  <a:pt x="1051" y="517"/>
                </a:cubicBezTo>
                <a:cubicBezTo>
                  <a:pt x="1128" y="586"/>
                  <a:pt x="1128" y="586"/>
                  <a:pt x="1128" y="586"/>
                </a:cubicBezTo>
                <a:cubicBezTo>
                  <a:pt x="1222" y="669"/>
                  <a:pt x="1222" y="669"/>
                  <a:pt x="1222" y="669"/>
                </a:cubicBezTo>
                <a:cubicBezTo>
                  <a:pt x="1253" y="697"/>
                  <a:pt x="1302" y="694"/>
                  <a:pt x="1330" y="662"/>
                </a:cubicBezTo>
                <a:cubicBezTo>
                  <a:pt x="1358" y="631"/>
                  <a:pt x="1355" y="582"/>
                  <a:pt x="1324" y="55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Tree>
    <p:extLst>
      <p:ext uri="{BB962C8B-B14F-4D97-AF65-F5344CB8AC3E}">
        <p14:creationId xmlns:p14="http://schemas.microsoft.com/office/powerpoint/2010/main" val="9634462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70" name="Prostokąt 69">
            <a:extLst>
              <a:ext uri="{FF2B5EF4-FFF2-40B4-BE49-F238E27FC236}">
                <a16:creationId xmlns:a16="http://schemas.microsoft.com/office/drawing/2014/main" id="{83083BEA-72CA-4882-B138-8FA1EBD29DBB}"/>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71" name="Prostokąt 70">
            <a:extLst>
              <a:ext uri="{FF2B5EF4-FFF2-40B4-BE49-F238E27FC236}">
                <a16:creationId xmlns:a16="http://schemas.microsoft.com/office/drawing/2014/main" id="{427E212F-0AE8-4544-AD22-7A2468FCA6F1}"/>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72" name="Prostokąt 71">
            <a:extLst>
              <a:ext uri="{FF2B5EF4-FFF2-40B4-BE49-F238E27FC236}">
                <a16:creationId xmlns:a16="http://schemas.microsoft.com/office/drawing/2014/main" id="{0BF2EA9E-73AD-4BC7-89F9-E7B8AEB5347F}"/>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73" name="Obraz 72">
            <a:extLst>
              <a:ext uri="{FF2B5EF4-FFF2-40B4-BE49-F238E27FC236}">
                <a16:creationId xmlns:a16="http://schemas.microsoft.com/office/drawing/2014/main" id="{DA6AC203-609B-46A2-940A-FC6B81F52C34}"/>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74" name="Obraz 73">
            <a:extLst>
              <a:ext uri="{FF2B5EF4-FFF2-40B4-BE49-F238E27FC236}">
                <a16:creationId xmlns:a16="http://schemas.microsoft.com/office/drawing/2014/main" id="{597EC0F4-CA7D-4E85-AB71-900322FA5F7E}"/>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76" name="Obraz 75">
            <a:extLst>
              <a:ext uri="{FF2B5EF4-FFF2-40B4-BE49-F238E27FC236}">
                <a16:creationId xmlns:a16="http://schemas.microsoft.com/office/drawing/2014/main" id="{4B7C4150-F624-4661-AE1D-F8CE72DFE539}"/>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78" name="Łącznik prosty ze strzałką 77">
            <a:extLst>
              <a:ext uri="{FF2B5EF4-FFF2-40B4-BE49-F238E27FC236}">
                <a16:creationId xmlns:a16="http://schemas.microsoft.com/office/drawing/2014/main" id="{0A5A6866-598F-42D9-A1FE-45825D641ABE}"/>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0" name="Łącznik prosty ze strzałką 79">
            <a:extLst>
              <a:ext uri="{FF2B5EF4-FFF2-40B4-BE49-F238E27FC236}">
                <a16:creationId xmlns:a16="http://schemas.microsoft.com/office/drawing/2014/main" id="{C17A379A-E1B3-4E32-8A7D-AA968CCEF851}"/>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1" name="Łącznik prosty ze strzałką 80">
            <a:extLst>
              <a:ext uri="{FF2B5EF4-FFF2-40B4-BE49-F238E27FC236}">
                <a16:creationId xmlns:a16="http://schemas.microsoft.com/office/drawing/2014/main" id="{23334EA2-E740-41F0-9268-DE3440D40328}"/>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2" name="Łącznik prosty ze strzałką 81">
            <a:extLst>
              <a:ext uri="{FF2B5EF4-FFF2-40B4-BE49-F238E27FC236}">
                <a16:creationId xmlns:a16="http://schemas.microsoft.com/office/drawing/2014/main" id="{AFD7F55E-127A-413F-A069-31B3386DF382}"/>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pic>
        <p:nvPicPr>
          <p:cNvPr id="88" name="Obraz 87">
            <a:extLst>
              <a:ext uri="{FF2B5EF4-FFF2-40B4-BE49-F238E27FC236}">
                <a16:creationId xmlns:a16="http://schemas.microsoft.com/office/drawing/2014/main" id="{EC837FC0-C108-4040-BA45-B73BFD6D5735}"/>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89" name="Obraz 88">
            <a:extLst>
              <a:ext uri="{FF2B5EF4-FFF2-40B4-BE49-F238E27FC236}">
                <a16:creationId xmlns:a16="http://schemas.microsoft.com/office/drawing/2014/main" id="{C7F82D9D-05B2-4BF7-BEAB-D04B5C43ABF7}"/>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9" name="Dowolny kształt: kształt 8">
            <a:extLst>
              <a:ext uri="{FF2B5EF4-FFF2-40B4-BE49-F238E27FC236}">
                <a16:creationId xmlns:a16="http://schemas.microsoft.com/office/drawing/2014/main" id="{3A805A58-DA0A-40C3-88DE-A36B09454977}"/>
              </a:ext>
            </a:extLst>
          </p:cNvPr>
          <p:cNvSpPr/>
          <p:nvPr/>
        </p:nvSpPr>
        <p:spPr>
          <a:xfrm>
            <a:off x="2090634" y="364877"/>
            <a:ext cx="9982071" cy="6462024"/>
          </a:xfrm>
          <a:custGeom>
            <a:avLst/>
            <a:gdLst>
              <a:gd name="connsiteX0" fmla="*/ 9954305 w 9982071"/>
              <a:gd name="connsiteY0" fmla="*/ 6246465 h 6662277"/>
              <a:gd name="connsiteX1" fmla="*/ 9944780 w 9982071"/>
              <a:gd name="connsiteY1" fmla="*/ 6132165 h 6662277"/>
              <a:gd name="connsiteX2" fmla="*/ 9811430 w 9982071"/>
              <a:gd name="connsiteY2" fmla="*/ 1026765 h 6662277"/>
              <a:gd name="connsiteX3" fmla="*/ 8154080 w 9982071"/>
              <a:gd name="connsiteY3" fmla="*/ 121890 h 6662277"/>
              <a:gd name="connsiteX4" fmla="*/ 5372780 w 9982071"/>
              <a:gd name="connsiteY4" fmla="*/ 17115 h 6662277"/>
              <a:gd name="connsiteX5" fmla="*/ 1334180 w 9982071"/>
              <a:gd name="connsiteY5" fmla="*/ 198090 h 6662277"/>
              <a:gd name="connsiteX6" fmla="*/ 67355 w 9982071"/>
              <a:gd name="connsiteY6" fmla="*/ 874365 h 6662277"/>
              <a:gd name="connsiteX7" fmla="*/ 257855 w 9982071"/>
              <a:gd name="connsiteY7" fmla="*/ 3798540 h 6662277"/>
              <a:gd name="connsiteX8" fmla="*/ 972230 w 9982071"/>
              <a:gd name="connsiteY8" fmla="*/ 4522440 h 6662277"/>
              <a:gd name="connsiteX9" fmla="*/ 1143680 w 9982071"/>
              <a:gd name="connsiteY9" fmla="*/ 5236815 h 6662277"/>
              <a:gd name="connsiteX10" fmla="*/ 1819955 w 9982071"/>
              <a:gd name="connsiteY10" fmla="*/ 6055965 h 6662277"/>
              <a:gd name="connsiteX11" fmla="*/ 3286805 w 9982071"/>
              <a:gd name="connsiteY11" fmla="*/ 6379815 h 6662277"/>
              <a:gd name="connsiteX12" fmla="*/ 9592355 w 9982071"/>
              <a:gd name="connsiteY12" fmla="*/ 6284565 h 6662277"/>
              <a:gd name="connsiteX13" fmla="*/ 9954305 w 9982071"/>
              <a:gd name="connsiteY13" fmla="*/ 6246465 h 666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82071" h="6662277">
                <a:moveTo>
                  <a:pt x="9954305" y="6246465"/>
                </a:moveTo>
                <a:cubicBezTo>
                  <a:pt x="9961448" y="6624290"/>
                  <a:pt x="9968592" y="7002115"/>
                  <a:pt x="9944780" y="6132165"/>
                </a:cubicBezTo>
                <a:cubicBezTo>
                  <a:pt x="9920968" y="5262215"/>
                  <a:pt x="10109880" y="2028477"/>
                  <a:pt x="9811430" y="1026765"/>
                </a:cubicBezTo>
                <a:cubicBezTo>
                  <a:pt x="9512980" y="25053"/>
                  <a:pt x="8893855" y="290165"/>
                  <a:pt x="8154080" y="121890"/>
                </a:cubicBezTo>
                <a:cubicBezTo>
                  <a:pt x="7414305" y="-46385"/>
                  <a:pt x="6509430" y="4415"/>
                  <a:pt x="5372780" y="17115"/>
                </a:cubicBezTo>
                <a:cubicBezTo>
                  <a:pt x="4236130" y="29815"/>
                  <a:pt x="2218417" y="55215"/>
                  <a:pt x="1334180" y="198090"/>
                </a:cubicBezTo>
                <a:cubicBezTo>
                  <a:pt x="449943" y="340965"/>
                  <a:pt x="246742" y="274290"/>
                  <a:pt x="67355" y="874365"/>
                </a:cubicBezTo>
                <a:cubicBezTo>
                  <a:pt x="-112032" y="1474440"/>
                  <a:pt x="107042" y="3190527"/>
                  <a:pt x="257855" y="3798540"/>
                </a:cubicBezTo>
                <a:cubicBezTo>
                  <a:pt x="408667" y="4406552"/>
                  <a:pt x="824593" y="4282728"/>
                  <a:pt x="972230" y="4522440"/>
                </a:cubicBezTo>
                <a:cubicBezTo>
                  <a:pt x="1119867" y="4762152"/>
                  <a:pt x="1002392" y="4981227"/>
                  <a:pt x="1143680" y="5236815"/>
                </a:cubicBezTo>
                <a:cubicBezTo>
                  <a:pt x="1284967" y="5492402"/>
                  <a:pt x="1462767" y="5865465"/>
                  <a:pt x="1819955" y="6055965"/>
                </a:cubicBezTo>
                <a:cubicBezTo>
                  <a:pt x="2177142" y="6246465"/>
                  <a:pt x="1991405" y="6341715"/>
                  <a:pt x="3286805" y="6379815"/>
                </a:cubicBezTo>
                <a:cubicBezTo>
                  <a:pt x="4582205" y="6417915"/>
                  <a:pt x="9592355" y="6284565"/>
                  <a:pt x="9592355" y="6284565"/>
                </a:cubicBezTo>
                <a:lnTo>
                  <a:pt x="9954305" y="6246465"/>
                </a:ln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24948889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70" name="Prostokąt 69">
            <a:extLst>
              <a:ext uri="{FF2B5EF4-FFF2-40B4-BE49-F238E27FC236}">
                <a16:creationId xmlns:a16="http://schemas.microsoft.com/office/drawing/2014/main" id="{83083BEA-72CA-4882-B138-8FA1EBD29DBB}"/>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71" name="Prostokąt 70">
            <a:extLst>
              <a:ext uri="{FF2B5EF4-FFF2-40B4-BE49-F238E27FC236}">
                <a16:creationId xmlns:a16="http://schemas.microsoft.com/office/drawing/2014/main" id="{427E212F-0AE8-4544-AD22-7A2468FCA6F1}"/>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72" name="Prostokąt 71">
            <a:extLst>
              <a:ext uri="{FF2B5EF4-FFF2-40B4-BE49-F238E27FC236}">
                <a16:creationId xmlns:a16="http://schemas.microsoft.com/office/drawing/2014/main" id="{0BF2EA9E-73AD-4BC7-89F9-E7B8AEB5347F}"/>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73" name="Obraz 72">
            <a:extLst>
              <a:ext uri="{FF2B5EF4-FFF2-40B4-BE49-F238E27FC236}">
                <a16:creationId xmlns:a16="http://schemas.microsoft.com/office/drawing/2014/main" id="{DA6AC203-609B-46A2-940A-FC6B81F52C34}"/>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74" name="Obraz 73">
            <a:extLst>
              <a:ext uri="{FF2B5EF4-FFF2-40B4-BE49-F238E27FC236}">
                <a16:creationId xmlns:a16="http://schemas.microsoft.com/office/drawing/2014/main" id="{597EC0F4-CA7D-4E85-AB71-900322FA5F7E}"/>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76" name="Obraz 75">
            <a:extLst>
              <a:ext uri="{FF2B5EF4-FFF2-40B4-BE49-F238E27FC236}">
                <a16:creationId xmlns:a16="http://schemas.microsoft.com/office/drawing/2014/main" id="{4B7C4150-F624-4661-AE1D-F8CE72DFE539}"/>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78" name="Łącznik prosty ze strzałką 77">
            <a:extLst>
              <a:ext uri="{FF2B5EF4-FFF2-40B4-BE49-F238E27FC236}">
                <a16:creationId xmlns:a16="http://schemas.microsoft.com/office/drawing/2014/main" id="{0A5A6866-598F-42D9-A1FE-45825D641ABE}"/>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0" name="Łącznik prosty ze strzałką 79">
            <a:extLst>
              <a:ext uri="{FF2B5EF4-FFF2-40B4-BE49-F238E27FC236}">
                <a16:creationId xmlns:a16="http://schemas.microsoft.com/office/drawing/2014/main" id="{C17A379A-E1B3-4E32-8A7D-AA968CCEF851}"/>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1" name="Łącznik prosty ze strzałką 80">
            <a:extLst>
              <a:ext uri="{FF2B5EF4-FFF2-40B4-BE49-F238E27FC236}">
                <a16:creationId xmlns:a16="http://schemas.microsoft.com/office/drawing/2014/main" id="{23334EA2-E740-41F0-9268-DE3440D40328}"/>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82" name="Łącznik prosty ze strzałką 81">
            <a:extLst>
              <a:ext uri="{FF2B5EF4-FFF2-40B4-BE49-F238E27FC236}">
                <a16:creationId xmlns:a16="http://schemas.microsoft.com/office/drawing/2014/main" id="{AFD7F55E-127A-413F-A069-31B3386DF382}"/>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pic>
        <p:nvPicPr>
          <p:cNvPr id="88" name="Obraz 87">
            <a:extLst>
              <a:ext uri="{FF2B5EF4-FFF2-40B4-BE49-F238E27FC236}">
                <a16:creationId xmlns:a16="http://schemas.microsoft.com/office/drawing/2014/main" id="{EC837FC0-C108-4040-BA45-B73BFD6D5735}"/>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89" name="Obraz 88">
            <a:extLst>
              <a:ext uri="{FF2B5EF4-FFF2-40B4-BE49-F238E27FC236}">
                <a16:creationId xmlns:a16="http://schemas.microsoft.com/office/drawing/2014/main" id="{C7F82D9D-05B2-4BF7-BEAB-D04B5C43ABF7}"/>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9" name="Dowolny kształt: kształt 8">
            <a:extLst>
              <a:ext uri="{FF2B5EF4-FFF2-40B4-BE49-F238E27FC236}">
                <a16:creationId xmlns:a16="http://schemas.microsoft.com/office/drawing/2014/main" id="{3A805A58-DA0A-40C3-88DE-A36B09454977}"/>
              </a:ext>
            </a:extLst>
          </p:cNvPr>
          <p:cNvSpPr/>
          <p:nvPr/>
        </p:nvSpPr>
        <p:spPr>
          <a:xfrm>
            <a:off x="2090634" y="364877"/>
            <a:ext cx="9982071" cy="6462024"/>
          </a:xfrm>
          <a:custGeom>
            <a:avLst/>
            <a:gdLst>
              <a:gd name="connsiteX0" fmla="*/ 9954305 w 9982071"/>
              <a:gd name="connsiteY0" fmla="*/ 6246465 h 6662277"/>
              <a:gd name="connsiteX1" fmla="*/ 9944780 w 9982071"/>
              <a:gd name="connsiteY1" fmla="*/ 6132165 h 6662277"/>
              <a:gd name="connsiteX2" fmla="*/ 9811430 w 9982071"/>
              <a:gd name="connsiteY2" fmla="*/ 1026765 h 6662277"/>
              <a:gd name="connsiteX3" fmla="*/ 8154080 w 9982071"/>
              <a:gd name="connsiteY3" fmla="*/ 121890 h 6662277"/>
              <a:gd name="connsiteX4" fmla="*/ 5372780 w 9982071"/>
              <a:gd name="connsiteY4" fmla="*/ 17115 h 6662277"/>
              <a:gd name="connsiteX5" fmla="*/ 1334180 w 9982071"/>
              <a:gd name="connsiteY5" fmla="*/ 198090 h 6662277"/>
              <a:gd name="connsiteX6" fmla="*/ 67355 w 9982071"/>
              <a:gd name="connsiteY6" fmla="*/ 874365 h 6662277"/>
              <a:gd name="connsiteX7" fmla="*/ 257855 w 9982071"/>
              <a:gd name="connsiteY7" fmla="*/ 3798540 h 6662277"/>
              <a:gd name="connsiteX8" fmla="*/ 972230 w 9982071"/>
              <a:gd name="connsiteY8" fmla="*/ 4522440 h 6662277"/>
              <a:gd name="connsiteX9" fmla="*/ 1143680 w 9982071"/>
              <a:gd name="connsiteY9" fmla="*/ 5236815 h 6662277"/>
              <a:gd name="connsiteX10" fmla="*/ 1819955 w 9982071"/>
              <a:gd name="connsiteY10" fmla="*/ 6055965 h 6662277"/>
              <a:gd name="connsiteX11" fmla="*/ 3286805 w 9982071"/>
              <a:gd name="connsiteY11" fmla="*/ 6379815 h 6662277"/>
              <a:gd name="connsiteX12" fmla="*/ 9592355 w 9982071"/>
              <a:gd name="connsiteY12" fmla="*/ 6284565 h 6662277"/>
              <a:gd name="connsiteX13" fmla="*/ 9954305 w 9982071"/>
              <a:gd name="connsiteY13" fmla="*/ 6246465 h 666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82071" h="6662277">
                <a:moveTo>
                  <a:pt x="9954305" y="6246465"/>
                </a:moveTo>
                <a:cubicBezTo>
                  <a:pt x="9961448" y="6624290"/>
                  <a:pt x="9968592" y="7002115"/>
                  <a:pt x="9944780" y="6132165"/>
                </a:cubicBezTo>
                <a:cubicBezTo>
                  <a:pt x="9920968" y="5262215"/>
                  <a:pt x="10109880" y="2028477"/>
                  <a:pt x="9811430" y="1026765"/>
                </a:cubicBezTo>
                <a:cubicBezTo>
                  <a:pt x="9512980" y="25053"/>
                  <a:pt x="8893855" y="290165"/>
                  <a:pt x="8154080" y="121890"/>
                </a:cubicBezTo>
                <a:cubicBezTo>
                  <a:pt x="7414305" y="-46385"/>
                  <a:pt x="6509430" y="4415"/>
                  <a:pt x="5372780" y="17115"/>
                </a:cubicBezTo>
                <a:cubicBezTo>
                  <a:pt x="4236130" y="29815"/>
                  <a:pt x="2218417" y="55215"/>
                  <a:pt x="1334180" y="198090"/>
                </a:cubicBezTo>
                <a:cubicBezTo>
                  <a:pt x="449943" y="340965"/>
                  <a:pt x="246742" y="274290"/>
                  <a:pt x="67355" y="874365"/>
                </a:cubicBezTo>
                <a:cubicBezTo>
                  <a:pt x="-112032" y="1474440"/>
                  <a:pt x="107042" y="3190527"/>
                  <a:pt x="257855" y="3798540"/>
                </a:cubicBezTo>
                <a:cubicBezTo>
                  <a:pt x="408667" y="4406552"/>
                  <a:pt x="824593" y="4282728"/>
                  <a:pt x="972230" y="4522440"/>
                </a:cubicBezTo>
                <a:cubicBezTo>
                  <a:pt x="1119867" y="4762152"/>
                  <a:pt x="1002392" y="4981227"/>
                  <a:pt x="1143680" y="5236815"/>
                </a:cubicBezTo>
                <a:cubicBezTo>
                  <a:pt x="1284967" y="5492402"/>
                  <a:pt x="1462767" y="5865465"/>
                  <a:pt x="1819955" y="6055965"/>
                </a:cubicBezTo>
                <a:cubicBezTo>
                  <a:pt x="2177142" y="6246465"/>
                  <a:pt x="1991405" y="6341715"/>
                  <a:pt x="3286805" y="6379815"/>
                </a:cubicBezTo>
                <a:cubicBezTo>
                  <a:pt x="4582205" y="6417915"/>
                  <a:pt x="9592355" y="6284565"/>
                  <a:pt x="9592355" y="6284565"/>
                </a:cubicBezTo>
                <a:lnTo>
                  <a:pt x="9954305" y="6246465"/>
                </a:ln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6" name="pole tekstowe 45">
            <a:extLst>
              <a:ext uri="{FF2B5EF4-FFF2-40B4-BE49-F238E27FC236}">
                <a16:creationId xmlns:a16="http://schemas.microsoft.com/office/drawing/2014/main" id="{AB0B3122-97D2-4599-9D92-748D8B099A09}"/>
              </a:ext>
            </a:extLst>
          </p:cNvPr>
          <p:cNvSpPr txBox="1"/>
          <p:nvPr/>
        </p:nvSpPr>
        <p:spPr>
          <a:xfrm>
            <a:off x="6830215" y="2484264"/>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Razor components</a:t>
            </a:r>
          </a:p>
        </p:txBody>
      </p:sp>
      <p:sp>
        <p:nvSpPr>
          <p:cNvPr id="47" name="pole tekstowe 46">
            <a:extLst>
              <a:ext uri="{FF2B5EF4-FFF2-40B4-BE49-F238E27FC236}">
                <a16:creationId xmlns:a16="http://schemas.microsoft.com/office/drawing/2014/main" id="{099746E1-60C4-4330-B298-7B7C317119B6}"/>
              </a:ext>
            </a:extLst>
          </p:cNvPr>
          <p:cNvSpPr txBox="1"/>
          <p:nvPr/>
        </p:nvSpPr>
        <p:spPr>
          <a:xfrm>
            <a:off x="7330264" y="3128891"/>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Razor code blocks</a:t>
            </a:r>
          </a:p>
        </p:txBody>
      </p:sp>
      <p:sp>
        <p:nvSpPr>
          <p:cNvPr id="48" name="pole tekstowe 47">
            <a:extLst>
              <a:ext uri="{FF2B5EF4-FFF2-40B4-BE49-F238E27FC236}">
                <a16:creationId xmlns:a16="http://schemas.microsoft.com/office/drawing/2014/main" id="{B401AEA9-CDAA-4EB8-AA4E-4654661A4473}"/>
              </a:ext>
            </a:extLst>
          </p:cNvPr>
          <p:cNvSpPr txBox="1"/>
          <p:nvPr/>
        </p:nvSpPr>
        <p:spPr>
          <a:xfrm>
            <a:off x="7762264" y="3771814"/>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One-way binding</a:t>
            </a:r>
          </a:p>
        </p:txBody>
      </p:sp>
      <p:sp>
        <p:nvSpPr>
          <p:cNvPr id="49" name="pole tekstowe 48">
            <a:extLst>
              <a:ext uri="{FF2B5EF4-FFF2-40B4-BE49-F238E27FC236}">
                <a16:creationId xmlns:a16="http://schemas.microsoft.com/office/drawing/2014/main" id="{FA24605D-84CF-469D-BBB8-5DBE7D8503EF}"/>
              </a:ext>
            </a:extLst>
          </p:cNvPr>
          <p:cNvSpPr txBox="1"/>
          <p:nvPr/>
        </p:nvSpPr>
        <p:spPr>
          <a:xfrm>
            <a:off x="8233465" y="4414737"/>
            <a:ext cx="3596049" cy="369332"/>
          </a:xfrm>
          <a:prstGeom prst="rect">
            <a:avLst/>
          </a:prstGeom>
          <a:noFill/>
        </p:spPr>
        <p:txBody>
          <a:bodyPr wrap="square" rtlCol="0">
            <a:spAutoFit/>
          </a:bodyPr>
          <a:lstStyle/>
          <a:p>
            <a:pPr marL="285750" indent="-285750">
              <a:buBlip>
                <a:blip r:embed="rId15"/>
              </a:buBlip>
            </a:pPr>
            <a:r>
              <a:rPr lang="en-US" dirty="0">
                <a:solidFill>
                  <a:srgbClr val="5C2D91"/>
                </a:solidFill>
                <a:latin typeface="Ubuntu" panose="020B0804030602030204" pitchFamily="34" charset="0"/>
              </a:rPr>
              <a:t>Lambda variable capturing</a:t>
            </a:r>
          </a:p>
        </p:txBody>
      </p:sp>
    </p:spTree>
    <p:extLst>
      <p:ext uri="{BB962C8B-B14F-4D97-AF65-F5344CB8AC3E}">
        <p14:creationId xmlns:p14="http://schemas.microsoft.com/office/powerpoint/2010/main" val="11233953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2">
            <a:extLst>
              <a:ext uri="{FF2B5EF4-FFF2-40B4-BE49-F238E27FC236}">
                <a16:creationId xmlns:a16="http://schemas.microsoft.com/office/drawing/2014/main" id="{576F486B-D184-4F89-8B2C-6ABF4836A0C8}"/>
              </a:ext>
            </a:extLst>
          </p:cNvPr>
          <p:cNvSpPr>
            <a:spLocks noGrp="1"/>
          </p:cNvSpPr>
          <p:nvPr>
            <p:ph type="title"/>
          </p:nvPr>
        </p:nvSpPr>
        <p:spPr>
          <a:xfrm>
            <a:off x="6276424" y="1049444"/>
            <a:ext cx="5636422" cy="1785257"/>
          </a:xfrm>
        </p:spPr>
        <p:txBody>
          <a:bodyPr/>
          <a:lstStyle/>
          <a:p>
            <a:pPr algn="ctr"/>
            <a:r>
              <a:rPr lang="pl-PL" sz="4000" dirty="0">
                <a:solidFill>
                  <a:srgbClr val="0070AD"/>
                </a:solidFill>
                <a:latin typeface="Ubuntu" panose="020B0804030602030204" pitchFamily="34" charset="0"/>
              </a:rPr>
              <a:t>Demo #0</a:t>
            </a:r>
            <a:r>
              <a:rPr lang="en-US" sz="4000" dirty="0">
                <a:solidFill>
                  <a:srgbClr val="0070AD"/>
                </a:solidFill>
                <a:latin typeface="Ubuntu" panose="020B0804030602030204" pitchFamily="34" charset="0"/>
              </a:rPr>
              <a:t>2</a:t>
            </a:r>
            <a:endParaRPr lang="en-GB" sz="4000" dirty="0">
              <a:solidFill>
                <a:srgbClr val="0070AD"/>
              </a:solidFill>
              <a:latin typeface="Ubuntu" panose="020B0804030602030204" pitchFamily="34" charset="0"/>
            </a:endParaRPr>
          </a:p>
        </p:txBody>
      </p:sp>
      <p:sp>
        <p:nvSpPr>
          <p:cNvPr id="14" name="Freeform 90">
            <a:extLst>
              <a:ext uri="{FF2B5EF4-FFF2-40B4-BE49-F238E27FC236}">
                <a16:creationId xmlns:a16="http://schemas.microsoft.com/office/drawing/2014/main" id="{85E56DE9-F514-44DC-B420-80636728A394}"/>
              </a:ext>
            </a:extLst>
          </p:cNvPr>
          <p:cNvSpPr>
            <a:spLocks/>
          </p:cNvSpPr>
          <p:nvPr/>
        </p:nvSpPr>
        <p:spPr bwMode="auto">
          <a:xfrm>
            <a:off x="7777774" y="1846961"/>
            <a:ext cx="46226" cy="70039"/>
          </a:xfrm>
          <a:custGeom>
            <a:avLst/>
            <a:gdLst>
              <a:gd name="T0" fmla="*/ 0 w 14"/>
              <a:gd name="T1" fmla="*/ 0 h 21"/>
              <a:gd name="T2" fmla="*/ 0 w 14"/>
              <a:gd name="T3" fmla="*/ 20 h 21"/>
              <a:gd name="T4" fmla="*/ 14 w 14"/>
              <a:gd name="T5" fmla="*/ 21 h 21"/>
              <a:gd name="T6" fmla="*/ 14 w 14"/>
              <a:gd name="T7" fmla="*/ 0 h 21"/>
              <a:gd name="T8" fmla="*/ 0 w 14"/>
              <a:gd name="T9" fmla="*/ 0 h 21"/>
            </a:gdLst>
            <a:ahLst/>
            <a:cxnLst>
              <a:cxn ang="0">
                <a:pos x="T0" y="T1"/>
              </a:cxn>
              <a:cxn ang="0">
                <a:pos x="T2" y="T3"/>
              </a:cxn>
              <a:cxn ang="0">
                <a:pos x="T4" y="T5"/>
              </a:cxn>
              <a:cxn ang="0">
                <a:pos x="T6" y="T7"/>
              </a:cxn>
              <a:cxn ang="0">
                <a:pos x="T8" y="T9"/>
              </a:cxn>
            </a:cxnLst>
            <a:rect l="0" t="0" r="r" b="b"/>
            <a:pathLst>
              <a:path w="14" h="21">
                <a:moveTo>
                  <a:pt x="0" y="0"/>
                </a:moveTo>
                <a:cubicBezTo>
                  <a:pt x="0" y="20"/>
                  <a:pt x="0" y="20"/>
                  <a:pt x="0" y="20"/>
                </a:cubicBezTo>
                <a:cubicBezTo>
                  <a:pt x="5" y="20"/>
                  <a:pt x="9" y="21"/>
                  <a:pt x="14" y="21"/>
                </a:cubicBezTo>
                <a:cubicBezTo>
                  <a:pt x="14" y="0"/>
                  <a:pt x="14" y="0"/>
                  <a:pt x="1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Obraz 9">
            <a:extLst>
              <a:ext uri="{FF2B5EF4-FFF2-40B4-BE49-F238E27FC236}">
                <a16:creationId xmlns:a16="http://schemas.microsoft.com/office/drawing/2014/main" id="{3BA4812E-6765-4199-9442-15BCA9C232A7}"/>
              </a:ext>
            </a:extLst>
          </p:cNvPr>
          <p:cNvPicPr>
            <a:picLocks noChangeAspect="1"/>
          </p:cNvPicPr>
          <p:nvPr/>
        </p:nvPicPr>
        <p:blipFill>
          <a:blip r:embed="rId3"/>
          <a:stretch>
            <a:fillRect/>
          </a:stretch>
        </p:blipFill>
        <p:spPr>
          <a:xfrm>
            <a:off x="4020675" y="4019744"/>
            <a:ext cx="2219325" cy="2209800"/>
          </a:xfrm>
          <a:prstGeom prst="rect">
            <a:avLst/>
          </a:prstGeom>
        </p:spPr>
      </p:pic>
      <p:pic>
        <p:nvPicPr>
          <p:cNvPr id="15" name="Obraz 14">
            <a:extLst>
              <a:ext uri="{FF2B5EF4-FFF2-40B4-BE49-F238E27FC236}">
                <a16:creationId xmlns:a16="http://schemas.microsoft.com/office/drawing/2014/main" id="{84107BF1-5767-4B6F-9A13-86E3F193FDC8}"/>
              </a:ext>
            </a:extLst>
          </p:cNvPr>
          <p:cNvPicPr>
            <a:picLocks noChangeAspect="1"/>
          </p:cNvPicPr>
          <p:nvPr/>
        </p:nvPicPr>
        <p:blipFill>
          <a:blip r:embed="rId4">
            <a:clrChange>
              <a:clrFrom>
                <a:srgbClr val="ECECEC"/>
              </a:clrFrom>
              <a:clrTo>
                <a:srgbClr val="ECECEC">
                  <a:alpha val="0"/>
                </a:srgbClr>
              </a:clrTo>
            </a:clrChange>
          </a:blip>
          <a:stretch>
            <a:fillRect/>
          </a:stretch>
        </p:blipFill>
        <p:spPr>
          <a:xfrm>
            <a:off x="9561847" y="4019744"/>
            <a:ext cx="2314575" cy="2305050"/>
          </a:xfrm>
          <a:prstGeom prst="rect">
            <a:avLst/>
          </a:prstGeom>
        </p:spPr>
      </p:pic>
      <p:sp>
        <p:nvSpPr>
          <p:cNvPr id="16" name="Freeform 93">
            <a:extLst>
              <a:ext uri="{FF2B5EF4-FFF2-40B4-BE49-F238E27FC236}">
                <a16:creationId xmlns:a16="http://schemas.microsoft.com/office/drawing/2014/main" id="{99E7751A-CADE-43CB-B1CF-68C07091C0C5}"/>
              </a:ext>
            </a:extLst>
          </p:cNvPr>
          <p:cNvSpPr>
            <a:spLocks/>
          </p:cNvSpPr>
          <p:nvPr/>
        </p:nvSpPr>
        <p:spPr bwMode="auto">
          <a:xfrm>
            <a:off x="7432901" y="1614979"/>
            <a:ext cx="209941" cy="233894"/>
          </a:xfrm>
          <a:custGeom>
            <a:avLst/>
            <a:gdLst>
              <a:gd name="T0" fmla="*/ 31 w 63"/>
              <a:gd name="T1" fmla="*/ 56 h 70"/>
              <a:gd name="T2" fmla="*/ 23 w 63"/>
              <a:gd name="T3" fmla="*/ 56 h 70"/>
              <a:gd name="T4" fmla="*/ 14 w 63"/>
              <a:gd name="T5" fmla="*/ 48 h 70"/>
              <a:gd name="T6" fmla="*/ 14 w 63"/>
              <a:gd name="T7" fmla="*/ 39 h 70"/>
              <a:gd name="T8" fmla="*/ 39 w 63"/>
              <a:gd name="T9" fmla="*/ 15 h 70"/>
              <a:gd name="T10" fmla="*/ 47 w 63"/>
              <a:gd name="T11" fmla="*/ 15 h 70"/>
              <a:gd name="T12" fmla="*/ 55 w 63"/>
              <a:gd name="T13" fmla="*/ 23 h 70"/>
              <a:gd name="T14" fmla="*/ 63 w 63"/>
              <a:gd name="T15" fmla="*/ 15 h 70"/>
              <a:gd name="T16" fmla="*/ 55 w 63"/>
              <a:gd name="T17" fmla="*/ 7 h 70"/>
              <a:gd name="T18" fmla="*/ 31 w 63"/>
              <a:gd name="T19" fmla="*/ 7 h 70"/>
              <a:gd name="T20" fmla="*/ 6 w 63"/>
              <a:gd name="T21" fmla="*/ 31 h 70"/>
              <a:gd name="T22" fmla="*/ 6 w 63"/>
              <a:gd name="T23" fmla="*/ 56 h 70"/>
              <a:gd name="T24" fmla="*/ 14 w 63"/>
              <a:gd name="T25" fmla="*/ 64 h 70"/>
              <a:gd name="T26" fmla="*/ 39 w 63"/>
              <a:gd name="T27" fmla="*/ 64 h 70"/>
              <a:gd name="T28" fmla="*/ 52 w 63"/>
              <a:gd name="T29" fmla="*/ 50 h 70"/>
              <a:gd name="T30" fmla="*/ 39 w 63"/>
              <a:gd name="T31" fmla="*/ 47 h 70"/>
              <a:gd name="T32" fmla="*/ 31 w 63"/>
              <a:gd name="T33" fmla="*/ 5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70">
                <a:moveTo>
                  <a:pt x="31" y="56"/>
                </a:moveTo>
                <a:cubicBezTo>
                  <a:pt x="28" y="58"/>
                  <a:pt x="25" y="58"/>
                  <a:pt x="23" y="56"/>
                </a:cubicBezTo>
                <a:cubicBezTo>
                  <a:pt x="14" y="48"/>
                  <a:pt x="14" y="48"/>
                  <a:pt x="14" y="48"/>
                </a:cubicBezTo>
                <a:cubicBezTo>
                  <a:pt x="12" y="45"/>
                  <a:pt x="12" y="42"/>
                  <a:pt x="14" y="39"/>
                </a:cubicBezTo>
                <a:cubicBezTo>
                  <a:pt x="39" y="15"/>
                  <a:pt x="39" y="15"/>
                  <a:pt x="39" y="15"/>
                </a:cubicBezTo>
                <a:cubicBezTo>
                  <a:pt x="41" y="13"/>
                  <a:pt x="45" y="13"/>
                  <a:pt x="47" y="15"/>
                </a:cubicBezTo>
                <a:cubicBezTo>
                  <a:pt x="55" y="23"/>
                  <a:pt x="55" y="23"/>
                  <a:pt x="55" y="23"/>
                </a:cubicBezTo>
                <a:cubicBezTo>
                  <a:pt x="63" y="15"/>
                  <a:pt x="63" y="15"/>
                  <a:pt x="63" y="15"/>
                </a:cubicBezTo>
                <a:cubicBezTo>
                  <a:pt x="55" y="7"/>
                  <a:pt x="55" y="7"/>
                  <a:pt x="55" y="7"/>
                </a:cubicBezTo>
                <a:cubicBezTo>
                  <a:pt x="48" y="0"/>
                  <a:pt x="37" y="0"/>
                  <a:pt x="31" y="7"/>
                </a:cubicBezTo>
                <a:cubicBezTo>
                  <a:pt x="6" y="31"/>
                  <a:pt x="6" y="31"/>
                  <a:pt x="6" y="31"/>
                </a:cubicBezTo>
                <a:cubicBezTo>
                  <a:pt x="0" y="38"/>
                  <a:pt x="0" y="49"/>
                  <a:pt x="6" y="56"/>
                </a:cubicBezTo>
                <a:cubicBezTo>
                  <a:pt x="14" y="64"/>
                  <a:pt x="14" y="64"/>
                  <a:pt x="14" y="64"/>
                </a:cubicBezTo>
                <a:cubicBezTo>
                  <a:pt x="21" y="70"/>
                  <a:pt x="32" y="70"/>
                  <a:pt x="39" y="64"/>
                </a:cubicBezTo>
                <a:cubicBezTo>
                  <a:pt x="52" y="50"/>
                  <a:pt x="52" y="50"/>
                  <a:pt x="52" y="50"/>
                </a:cubicBezTo>
                <a:cubicBezTo>
                  <a:pt x="48" y="50"/>
                  <a:pt x="43" y="49"/>
                  <a:pt x="39" y="47"/>
                </a:cubicBezTo>
                <a:lnTo>
                  <a:pt x="31" y="56"/>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4">
            <a:extLst>
              <a:ext uri="{FF2B5EF4-FFF2-40B4-BE49-F238E27FC236}">
                <a16:creationId xmlns:a16="http://schemas.microsoft.com/office/drawing/2014/main" id="{8A54A5C9-3617-4D7E-A664-0AE480C09609}"/>
              </a:ext>
            </a:extLst>
          </p:cNvPr>
          <p:cNvSpPr>
            <a:spLocks/>
          </p:cNvSpPr>
          <p:nvPr/>
        </p:nvSpPr>
        <p:spPr bwMode="auto">
          <a:xfrm>
            <a:off x="7532940" y="1534666"/>
            <a:ext cx="212759" cy="233894"/>
          </a:xfrm>
          <a:custGeom>
            <a:avLst/>
            <a:gdLst>
              <a:gd name="T0" fmla="*/ 57 w 64"/>
              <a:gd name="T1" fmla="*/ 15 h 70"/>
              <a:gd name="T2" fmla="*/ 49 w 64"/>
              <a:gd name="T3" fmla="*/ 7 h 70"/>
              <a:gd name="T4" fmla="*/ 25 w 64"/>
              <a:gd name="T5" fmla="*/ 7 h 70"/>
              <a:gd name="T6" fmla="*/ 11 w 64"/>
              <a:gd name="T7" fmla="*/ 20 h 70"/>
              <a:gd name="T8" fmla="*/ 24 w 64"/>
              <a:gd name="T9" fmla="*/ 24 h 70"/>
              <a:gd name="T10" fmla="*/ 33 w 64"/>
              <a:gd name="T11" fmla="*/ 15 h 70"/>
              <a:gd name="T12" fmla="*/ 41 w 64"/>
              <a:gd name="T13" fmla="*/ 15 h 70"/>
              <a:gd name="T14" fmla="*/ 49 w 64"/>
              <a:gd name="T15" fmla="*/ 23 h 70"/>
              <a:gd name="T16" fmla="*/ 49 w 64"/>
              <a:gd name="T17" fmla="*/ 31 h 70"/>
              <a:gd name="T18" fmla="*/ 25 w 64"/>
              <a:gd name="T19" fmla="*/ 55 h 70"/>
              <a:gd name="T20" fmla="*/ 17 w 64"/>
              <a:gd name="T21" fmla="*/ 55 h 70"/>
              <a:gd name="T22" fmla="*/ 9 w 64"/>
              <a:gd name="T23" fmla="*/ 47 h 70"/>
              <a:gd name="T24" fmla="*/ 6 w 64"/>
              <a:gd name="T25" fmla="*/ 47 h 70"/>
              <a:gd name="T26" fmla="*/ 3 w 64"/>
              <a:gd name="T27" fmla="*/ 52 h 70"/>
              <a:gd name="T28" fmla="*/ 0 w 64"/>
              <a:gd name="T29" fmla="*/ 55 h 70"/>
              <a:gd name="T30" fmla="*/ 1 w 64"/>
              <a:gd name="T31" fmla="*/ 55 h 70"/>
              <a:gd name="T32" fmla="*/ 9 w 64"/>
              <a:gd name="T33" fmla="*/ 63 h 70"/>
              <a:gd name="T34" fmla="*/ 33 w 64"/>
              <a:gd name="T35" fmla="*/ 63 h 70"/>
              <a:gd name="T36" fmla="*/ 57 w 64"/>
              <a:gd name="T37" fmla="*/ 39 h 70"/>
              <a:gd name="T38" fmla="*/ 57 w 64"/>
              <a:gd name="T39" fmla="*/ 1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70">
                <a:moveTo>
                  <a:pt x="57" y="15"/>
                </a:moveTo>
                <a:cubicBezTo>
                  <a:pt x="49" y="7"/>
                  <a:pt x="49" y="7"/>
                  <a:pt x="49" y="7"/>
                </a:cubicBezTo>
                <a:cubicBezTo>
                  <a:pt x="43" y="0"/>
                  <a:pt x="32" y="0"/>
                  <a:pt x="25" y="7"/>
                </a:cubicBezTo>
                <a:cubicBezTo>
                  <a:pt x="11" y="20"/>
                  <a:pt x="11" y="20"/>
                  <a:pt x="11" y="20"/>
                </a:cubicBezTo>
                <a:cubicBezTo>
                  <a:pt x="16" y="20"/>
                  <a:pt x="20" y="21"/>
                  <a:pt x="24" y="24"/>
                </a:cubicBezTo>
                <a:cubicBezTo>
                  <a:pt x="33" y="15"/>
                  <a:pt x="33" y="15"/>
                  <a:pt x="33" y="15"/>
                </a:cubicBezTo>
                <a:cubicBezTo>
                  <a:pt x="35" y="13"/>
                  <a:pt x="39" y="13"/>
                  <a:pt x="41" y="15"/>
                </a:cubicBezTo>
                <a:cubicBezTo>
                  <a:pt x="49" y="23"/>
                  <a:pt x="49" y="23"/>
                  <a:pt x="49" y="23"/>
                </a:cubicBezTo>
                <a:cubicBezTo>
                  <a:pt x="51" y="25"/>
                  <a:pt x="51" y="29"/>
                  <a:pt x="49" y="31"/>
                </a:cubicBezTo>
                <a:cubicBezTo>
                  <a:pt x="25" y="55"/>
                  <a:pt x="25" y="55"/>
                  <a:pt x="25" y="55"/>
                </a:cubicBezTo>
                <a:cubicBezTo>
                  <a:pt x="23" y="58"/>
                  <a:pt x="19" y="58"/>
                  <a:pt x="17" y="55"/>
                </a:cubicBezTo>
                <a:cubicBezTo>
                  <a:pt x="9" y="47"/>
                  <a:pt x="9" y="47"/>
                  <a:pt x="9" y="47"/>
                </a:cubicBezTo>
                <a:cubicBezTo>
                  <a:pt x="9" y="47"/>
                  <a:pt x="8" y="47"/>
                  <a:pt x="6" y="47"/>
                </a:cubicBezTo>
                <a:cubicBezTo>
                  <a:pt x="5" y="48"/>
                  <a:pt x="4" y="48"/>
                  <a:pt x="3" y="52"/>
                </a:cubicBezTo>
                <a:cubicBezTo>
                  <a:pt x="3" y="52"/>
                  <a:pt x="1" y="54"/>
                  <a:pt x="0" y="55"/>
                </a:cubicBezTo>
                <a:cubicBezTo>
                  <a:pt x="0" y="55"/>
                  <a:pt x="1" y="55"/>
                  <a:pt x="1" y="55"/>
                </a:cubicBezTo>
                <a:cubicBezTo>
                  <a:pt x="9" y="63"/>
                  <a:pt x="9" y="63"/>
                  <a:pt x="9" y="63"/>
                </a:cubicBezTo>
                <a:cubicBezTo>
                  <a:pt x="15" y="70"/>
                  <a:pt x="26" y="70"/>
                  <a:pt x="33" y="63"/>
                </a:cubicBezTo>
                <a:cubicBezTo>
                  <a:pt x="57" y="39"/>
                  <a:pt x="57" y="39"/>
                  <a:pt x="57" y="39"/>
                </a:cubicBezTo>
                <a:cubicBezTo>
                  <a:pt x="64" y="32"/>
                  <a:pt x="64" y="22"/>
                  <a:pt x="57" y="15"/>
                </a:cubicBezTo>
                <a:close/>
              </a:path>
            </a:pathLst>
          </a:custGeom>
          <a:solidFill>
            <a:srgbClr val="A0428A"/>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203266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16" name="Dowolny kształt: kształt 15">
            <a:extLst>
              <a:ext uri="{FF2B5EF4-FFF2-40B4-BE49-F238E27FC236}">
                <a16:creationId xmlns:a16="http://schemas.microsoft.com/office/drawing/2014/main" id="{01C8953A-7711-49B0-BB29-0BDE240DFE2F}"/>
              </a:ext>
            </a:extLst>
          </p:cNvPr>
          <p:cNvSpPr/>
          <p:nvPr/>
        </p:nvSpPr>
        <p:spPr>
          <a:xfrm>
            <a:off x="35088" y="419016"/>
            <a:ext cx="1478214" cy="2439448"/>
          </a:xfrm>
          <a:custGeom>
            <a:avLst/>
            <a:gdLst>
              <a:gd name="connsiteX0" fmla="*/ 41112 w 1478214"/>
              <a:gd name="connsiteY0" fmla="*/ 1733634 h 2439448"/>
              <a:gd name="connsiteX1" fmla="*/ 898362 w 1478214"/>
              <a:gd name="connsiteY1" fmla="*/ 85809 h 2439448"/>
              <a:gd name="connsiteX2" fmla="*/ 1346037 w 1478214"/>
              <a:gd name="connsiteY2" fmla="*/ 266784 h 2439448"/>
              <a:gd name="connsiteX3" fmla="*/ 1393662 w 1478214"/>
              <a:gd name="connsiteY3" fmla="*/ 552534 h 2439448"/>
              <a:gd name="connsiteX4" fmla="*/ 1431762 w 1478214"/>
              <a:gd name="connsiteY4" fmla="*/ 1543134 h 2439448"/>
              <a:gd name="connsiteX5" fmla="*/ 1374612 w 1478214"/>
              <a:gd name="connsiteY5" fmla="*/ 2409909 h 2439448"/>
              <a:gd name="connsiteX6" fmla="*/ 260187 w 1478214"/>
              <a:gd name="connsiteY6" fmla="*/ 2190834 h 2439448"/>
              <a:gd name="connsiteX7" fmla="*/ 41112 w 1478214"/>
              <a:gd name="connsiteY7" fmla="*/ 1733634 h 243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8214" h="2439448">
                <a:moveTo>
                  <a:pt x="41112" y="1733634"/>
                </a:moveTo>
                <a:cubicBezTo>
                  <a:pt x="147474" y="1382797"/>
                  <a:pt x="680875" y="330284"/>
                  <a:pt x="898362" y="85809"/>
                </a:cubicBezTo>
                <a:cubicBezTo>
                  <a:pt x="1115849" y="-158666"/>
                  <a:pt x="1263487" y="188996"/>
                  <a:pt x="1346037" y="266784"/>
                </a:cubicBezTo>
                <a:cubicBezTo>
                  <a:pt x="1428587" y="344571"/>
                  <a:pt x="1379375" y="339809"/>
                  <a:pt x="1393662" y="552534"/>
                </a:cubicBezTo>
                <a:cubicBezTo>
                  <a:pt x="1407949" y="765259"/>
                  <a:pt x="1434937" y="1233572"/>
                  <a:pt x="1431762" y="1543134"/>
                </a:cubicBezTo>
                <a:cubicBezTo>
                  <a:pt x="1428587" y="1852696"/>
                  <a:pt x="1569874" y="2301959"/>
                  <a:pt x="1374612" y="2409909"/>
                </a:cubicBezTo>
                <a:cubicBezTo>
                  <a:pt x="1179350" y="2517859"/>
                  <a:pt x="476087" y="2303547"/>
                  <a:pt x="260187" y="2190834"/>
                </a:cubicBezTo>
                <a:cubicBezTo>
                  <a:pt x="44287" y="2078121"/>
                  <a:pt x="-65250" y="2084471"/>
                  <a:pt x="41112" y="1733634"/>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4" name="Prostokąt 53">
            <a:extLst>
              <a:ext uri="{FF2B5EF4-FFF2-40B4-BE49-F238E27FC236}">
                <a16:creationId xmlns:a16="http://schemas.microsoft.com/office/drawing/2014/main" id="{15D2D26E-FD2C-4479-BE34-B3AE3901882D}"/>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5" name="Prostokąt 54">
            <a:extLst>
              <a:ext uri="{FF2B5EF4-FFF2-40B4-BE49-F238E27FC236}">
                <a16:creationId xmlns:a16="http://schemas.microsoft.com/office/drawing/2014/main" id="{6072A2FB-B0DE-4D12-B7B2-0DA66E00D40E}"/>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6" name="Prostokąt 55">
            <a:extLst>
              <a:ext uri="{FF2B5EF4-FFF2-40B4-BE49-F238E27FC236}">
                <a16:creationId xmlns:a16="http://schemas.microsoft.com/office/drawing/2014/main" id="{3144F875-A1EE-4AF4-BD07-E20ADA0CEB78}"/>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57" name="Obraz 56">
            <a:extLst>
              <a:ext uri="{FF2B5EF4-FFF2-40B4-BE49-F238E27FC236}">
                <a16:creationId xmlns:a16="http://schemas.microsoft.com/office/drawing/2014/main" id="{C2DA1822-8CAB-4D40-8955-A872BDA8760E}"/>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58" name="Obraz 57">
            <a:extLst>
              <a:ext uri="{FF2B5EF4-FFF2-40B4-BE49-F238E27FC236}">
                <a16:creationId xmlns:a16="http://schemas.microsoft.com/office/drawing/2014/main" id="{A5849842-ECF3-46C7-82B8-CB669B722DFB}"/>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59" name="Obraz 58">
            <a:extLst>
              <a:ext uri="{FF2B5EF4-FFF2-40B4-BE49-F238E27FC236}">
                <a16:creationId xmlns:a16="http://schemas.microsoft.com/office/drawing/2014/main" id="{604DC8F9-6E9D-4D07-839D-BD9604AF2652}"/>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60" name="Łącznik prosty ze strzałką 59">
            <a:extLst>
              <a:ext uri="{FF2B5EF4-FFF2-40B4-BE49-F238E27FC236}">
                <a16:creationId xmlns:a16="http://schemas.microsoft.com/office/drawing/2014/main" id="{0E7D1276-04F5-4D38-9022-C96665ED8B89}"/>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1" name="Łącznik prosty ze strzałką 60">
            <a:extLst>
              <a:ext uri="{FF2B5EF4-FFF2-40B4-BE49-F238E27FC236}">
                <a16:creationId xmlns:a16="http://schemas.microsoft.com/office/drawing/2014/main" id="{0242042D-C097-49FF-99F8-317B3DB6533E}"/>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2" name="Łącznik prosty ze strzałką 61">
            <a:extLst>
              <a:ext uri="{FF2B5EF4-FFF2-40B4-BE49-F238E27FC236}">
                <a16:creationId xmlns:a16="http://schemas.microsoft.com/office/drawing/2014/main" id="{DD0FB48B-69BD-456D-80EE-733699C1D2C1}"/>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63" name="Łącznik prosty ze strzałką 62">
            <a:extLst>
              <a:ext uri="{FF2B5EF4-FFF2-40B4-BE49-F238E27FC236}">
                <a16:creationId xmlns:a16="http://schemas.microsoft.com/office/drawing/2014/main" id="{1AAFE6BB-1528-401D-AEBA-DC58F62FBA56}"/>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pic>
        <p:nvPicPr>
          <p:cNvPr id="70" name="Obraz 69">
            <a:extLst>
              <a:ext uri="{FF2B5EF4-FFF2-40B4-BE49-F238E27FC236}">
                <a16:creationId xmlns:a16="http://schemas.microsoft.com/office/drawing/2014/main" id="{8F34F655-859E-44FE-80A1-44E817180C91}"/>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71" name="Obraz 70">
            <a:extLst>
              <a:ext uri="{FF2B5EF4-FFF2-40B4-BE49-F238E27FC236}">
                <a16:creationId xmlns:a16="http://schemas.microsoft.com/office/drawing/2014/main" id="{7B43AA61-007F-4B85-8CC6-034F7CAC0CD4}"/>
              </a:ext>
            </a:extLst>
          </p:cNvPr>
          <p:cNvPicPr>
            <a:picLocks noChangeAspect="1"/>
          </p:cNvPicPr>
          <p:nvPr/>
        </p:nvPicPr>
        <p:blipFill>
          <a:blip r:embed="rId14"/>
          <a:stretch>
            <a:fillRect/>
          </a:stretch>
        </p:blipFill>
        <p:spPr>
          <a:xfrm>
            <a:off x="10566109" y="1506880"/>
            <a:ext cx="902037" cy="680286"/>
          </a:xfrm>
          <a:prstGeom prst="rect">
            <a:avLst/>
          </a:prstGeom>
        </p:spPr>
      </p:pic>
      <p:sp>
        <p:nvSpPr>
          <p:cNvPr id="17" name="Dowolny kształt: kształt 16">
            <a:extLst>
              <a:ext uri="{FF2B5EF4-FFF2-40B4-BE49-F238E27FC236}">
                <a16:creationId xmlns:a16="http://schemas.microsoft.com/office/drawing/2014/main" id="{AFBD19A8-A097-4DD4-A389-E0BC8E3C573F}"/>
              </a:ext>
            </a:extLst>
          </p:cNvPr>
          <p:cNvSpPr/>
          <p:nvPr/>
        </p:nvSpPr>
        <p:spPr>
          <a:xfrm>
            <a:off x="3963577" y="276669"/>
            <a:ext cx="8107038" cy="6420222"/>
          </a:xfrm>
          <a:custGeom>
            <a:avLst/>
            <a:gdLst>
              <a:gd name="connsiteX0" fmla="*/ 451318 w 8107038"/>
              <a:gd name="connsiteY0" fmla="*/ 5393891 h 6420222"/>
              <a:gd name="connsiteX1" fmla="*/ 3643 w 8107038"/>
              <a:gd name="connsiteY1" fmla="*/ 5984441 h 6420222"/>
              <a:gd name="connsiteX2" fmla="*/ 718018 w 8107038"/>
              <a:gd name="connsiteY2" fmla="*/ 6336866 h 6420222"/>
              <a:gd name="connsiteX3" fmla="*/ 3346918 w 8107038"/>
              <a:gd name="connsiteY3" fmla="*/ 6317816 h 6420222"/>
              <a:gd name="connsiteX4" fmla="*/ 6642568 w 8107038"/>
              <a:gd name="connsiteY4" fmla="*/ 6336866 h 6420222"/>
              <a:gd name="connsiteX5" fmla="*/ 7937968 w 8107038"/>
              <a:gd name="connsiteY5" fmla="*/ 6384491 h 6420222"/>
              <a:gd name="connsiteX6" fmla="*/ 8090368 w 8107038"/>
              <a:gd name="connsiteY6" fmla="*/ 5746316 h 6420222"/>
              <a:gd name="connsiteX7" fmla="*/ 7928443 w 8107038"/>
              <a:gd name="connsiteY7" fmla="*/ 4460441 h 6420222"/>
              <a:gd name="connsiteX8" fmla="*/ 8023693 w 8107038"/>
              <a:gd name="connsiteY8" fmla="*/ 2717366 h 6420222"/>
              <a:gd name="connsiteX9" fmla="*/ 8004643 w 8107038"/>
              <a:gd name="connsiteY9" fmla="*/ 1355291 h 6420222"/>
              <a:gd name="connsiteX10" fmla="*/ 6985468 w 8107038"/>
              <a:gd name="connsiteY10" fmla="*/ 593291 h 6420222"/>
              <a:gd name="connsiteX11" fmla="*/ 4909018 w 8107038"/>
              <a:gd name="connsiteY11" fmla="*/ 21791 h 6420222"/>
              <a:gd name="connsiteX12" fmla="*/ 3146893 w 8107038"/>
              <a:gd name="connsiteY12" fmla="*/ 164666 h 6420222"/>
              <a:gd name="connsiteX13" fmla="*/ 1794343 w 8107038"/>
              <a:gd name="connsiteY13" fmla="*/ 593291 h 6420222"/>
              <a:gd name="connsiteX14" fmla="*/ 1165693 w 8107038"/>
              <a:gd name="connsiteY14" fmla="*/ 2193491 h 6420222"/>
              <a:gd name="connsiteX15" fmla="*/ 822793 w 8107038"/>
              <a:gd name="connsiteY15" fmla="*/ 5146241 h 6420222"/>
              <a:gd name="connsiteX16" fmla="*/ 708493 w 8107038"/>
              <a:gd name="connsiteY16" fmla="*/ 5346266 h 6420222"/>
              <a:gd name="connsiteX17" fmla="*/ 451318 w 8107038"/>
              <a:gd name="connsiteY17" fmla="*/ 5393891 h 6420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07038" h="6420222">
                <a:moveTo>
                  <a:pt x="451318" y="5393891"/>
                </a:moveTo>
                <a:cubicBezTo>
                  <a:pt x="333843" y="5500254"/>
                  <a:pt x="-40807" y="5827279"/>
                  <a:pt x="3643" y="5984441"/>
                </a:cubicBezTo>
                <a:cubicBezTo>
                  <a:pt x="48093" y="6141603"/>
                  <a:pt x="160806" y="6281304"/>
                  <a:pt x="718018" y="6336866"/>
                </a:cubicBezTo>
                <a:cubicBezTo>
                  <a:pt x="1275230" y="6392428"/>
                  <a:pt x="3346918" y="6317816"/>
                  <a:pt x="3346918" y="6317816"/>
                </a:cubicBezTo>
                <a:lnTo>
                  <a:pt x="6642568" y="6336866"/>
                </a:lnTo>
                <a:cubicBezTo>
                  <a:pt x="7407743" y="6347979"/>
                  <a:pt x="7696668" y="6482916"/>
                  <a:pt x="7937968" y="6384491"/>
                </a:cubicBezTo>
                <a:cubicBezTo>
                  <a:pt x="8179268" y="6286066"/>
                  <a:pt x="8091955" y="6066991"/>
                  <a:pt x="8090368" y="5746316"/>
                </a:cubicBezTo>
                <a:cubicBezTo>
                  <a:pt x="8088781" y="5425641"/>
                  <a:pt x="7939556" y="4965266"/>
                  <a:pt x="7928443" y="4460441"/>
                </a:cubicBezTo>
                <a:cubicBezTo>
                  <a:pt x="7917331" y="3955616"/>
                  <a:pt x="8010993" y="3234891"/>
                  <a:pt x="8023693" y="2717366"/>
                </a:cubicBezTo>
                <a:cubicBezTo>
                  <a:pt x="8036393" y="2199841"/>
                  <a:pt x="8177681" y="1709304"/>
                  <a:pt x="8004643" y="1355291"/>
                </a:cubicBezTo>
                <a:cubicBezTo>
                  <a:pt x="7831605" y="1001278"/>
                  <a:pt x="7501406" y="815541"/>
                  <a:pt x="6985468" y="593291"/>
                </a:cubicBezTo>
                <a:cubicBezTo>
                  <a:pt x="6469531" y="371041"/>
                  <a:pt x="5548780" y="93228"/>
                  <a:pt x="4909018" y="21791"/>
                </a:cubicBezTo>
                <a:cubicBezTo>
                  <a:pt x="4269256" y="-49646"/>
                  <a:pt x="3666005" y="69416"/>
                  <a:pt x="3146893" y="164666"/>
                </a:cubicBezTo>
                <a:cubicBezTo>
                  <a:pt x="2627781" y="259916"/>
                  <a:pt x="2124543" y="255153"/>
                  <a:pt x="1794343" y="593291"/>
                </a:cubicBezTo>
                <a:cubicBezTo>
                  <a:pt x="1464143" y="931428"/>
                  <a:pt x="1327618" y="1434666"/>
                  <a:pt x="1165693" y="2193491"/>
                </a:cubicBezTo>
                <a:cubicBezTo>
                  <a:pt x="1003768" y="2952316"/>
                  <a:pt x="898993" y="4620779"/>
                  <a:pt x="822793" y="5146241"/>
                </a:cubicBezTo>
                <a:cubicBezTo>
                  <a:pt x="746593" y="5671703"/>
                  <a:pt x="765643" y="5301816"/>
                  <a:pt x="708493" y="5346266"/>
                </a:cubicBezTo>
                <a:cubicBezTo>
                  <a:pt x="651343" y="5390716"/>
                  <a:pt x="568793" y="5287528"/>
                  <a:pt x="451318" y="5393891"/>
                </a:cubicBezTo>
                <a:close/>
              </a:path>
            </a:pathLst>
          </a:custGeom>
          <a:solidFill>
            <a:srgbClr val="2B0A3D">
              <a:alpha val="75000"/>
            </a:srgbClr>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17039406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6CE86BFB-C0B9-40EB-B603-FB038157793B}"/>
    </a:ext>
  </a:extLst>
</a:theme>
</file>

<file path=ppt/theme/theme3.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_v2.potx" id="{A21817D6-687C-414A-ADD6-CFCEBC9EFD18}" vid="{DE516688-0EE3-4AA9-9CE9-B913BD5D12A6}"/>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601</TotalTime>
  <Words>205</Words>
  <Application>Microsoft Office PowerPoint</Application>
  <PresentationFormat>Panoramiczny</PresentationFormat>
  <Paragraphs>84</Paragraphs>
  <Slides>42</Slides>
  <Notes>14</Notes>
  <HiddenSlides>0</HiddenSlides>
  <MMClips>0</MMClips>
  <ScaleCrop>false</ScaleCrop>
  <HeadingPairs>
    <vt:vector size="8" baseType="variant">
      <vt:variant>
        <vt:lpstr>Używane czcionki</vt:lpstr>
      </vt:variant>
      <vt:variant>
        <vt:i4>4</vt:i4>
      </vt:variant>
      <vt:variant>
        <vt:lpstr>Motyw</vt:lpstr>
      </vt:variant>
      <vt:variant>
        <vt:i4>4</vt:i4>
      </vt:variant>
      <vt:variant>
        <vt:lpstr>Osadzone serwery OLE</vt:lpstr>
      </vt:variant>
      <vt:variant>
        <vt:i4>1</vt:i4>
      </vt:variant>
      <vt:variant>
        <vt:lpstr>Tytuły slajdów</vt:lpstr>
      </vt:variant>
      <vt:variant>
        <vt:i4>42</vt:i4>
      </vt:variant>
    </vt:vector>
  </HeadingPairs>
  <TitlesOfParts>
    <vt:vector size="51" baseType="lpstr">
      <vt:lpstr>Arial</vt:lpstr>
      <vt:lpstr>Ubuntu</vt:lpstr>
      <vt:lpstr>Verdana</vt:lpstr>
      <vt:lpstr>Wingdings</vt:lpstr>
      <vt:lpstr>Capgemini Master</vt:lpstr>
      <vt:lpstr>Section break</vt:lpstr>
      <vt:lpstr>Title Slide</vt:lpstr>
      <vt:lpstr>Final slides</vt:lpstr>
      <vt:lpstr>think-cell Slide</vt:lpstr>
      <vt:lpstr>Prezentacja programu PowerPoint</vt:lpstr>
      <vt:lpstr>Prezentacja programu PowerPoint</vt:lpstr>
      <vt:lpstr>Prezentacja programu PowerPoint</vt:lpstr>
      <vt:lpstr>Prezentacja programu PowerPoint</vt:lpstr>
      <vt:lpstr>Demo #01</vt:lpstr>
      <vt:lpstr>Prezentacja programu PowerPoint</vt:lpstr>
      <vt:lpstr>Prezentacja programu PowerPoint</vt:lpstr>
      <vt:lpstr>Demo #02</vt:lpstr>
      <vt:lpstr>Prezentacja programu PowerPoint</vt:lpstr>
      <vt:lpstr>Prezentacja programu PowerPoint</vt:lpstr>
      <vt:lpstr>Demo #03</vt:lpstr>
      <vt:lpstr>Prezentacja programu PowerPoint</vt:lpstr>
      <vt:lpstr>Prezentacja programu PowerPoint</vt:lpstr>
      <vt:lpstr>Demo #04</vt:lpstr>
      <vt:lpstr>Prezentacja programu PowerPoint</vt:lpstr>
      <vt:lpstr>Prezentacja programu PowerPoint</vt:lpstr>
      <vt:lpstr>Demo #05</vt:lpstr>
      <vt:lpstr>Prezentacja programu PowerPoint</vt:lpstr>
      <vt:lpstr>Prezentacja programu PowerPoint</vt:lpstr>
      <vt:lpstr>Demo #06</vt:lpstr>
      <vt:lpstr>Prezentacja programu PowerPoint</vt:lpstr>
      <vt:lpstr>Prezentacja programu PowerPoint</vt:lpstr>
      <vt:lpstr>Demo #07</vt:lpstr>
      <vt:lpstr>Prezentacja programu PowerPoint</vt:lpstr>
      <vt:lpstr>Prezentacja programu PowerPoint</vt:lpstr>
      <vt:lpstr>Demo #08</vt:lpstr>
      <vt:lpstr>Prezentacja programu PowerPoint</vt:lpstr>
      <vt:lpstr>Prezentacja programu PowerPoint</vt:lpstr>
      <vt:lpstr>Demo #09</vt:lpstr>
      <vt:lpstr>Prezentacja programu PowerPoint</vt:lpstr>
      <vt:lpstr>Prezentacja programu PowerPoint</vt:lpstr>
      <vt:lpstr>Demo #10</vt:lpstr>
      <vt:lpstr>Prezentacja programu PowerPoint</vt:lpstr>
      <vt:lpstr>Prezentacja programu PowerPoint</vt:lpstr>
      <vt:lpstr>Demo #11</vt:lpstr>
      <vt:lpstr>Prezentacja programu PowerPoint</vt:lpstr>
      <vt:lpstr>Prezentacja programu PowerPoint</vt:lpstr>
      <vt:lpstr>Demo #12</vt:lpstr>
      <vt:lpstr>Prezentacja programu PowerPoint</vt:lpstr>
      <vt:lpstr>Prezentacja programu PowerPoint</vt:lpstr>
      <vt:lpstr>Prezentacja programu PowerPoint</vt:lpstr>
      <vt:lpstr>Prezentacja programu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Tomasz Strzałka</cp:lastModifiedBy>
  <cp:revision>204</cp:revision>
  <dcterms:created xsi:type="dcterms:W3CDTF">2017-11-02T14:01:05Z</dcterms:created>
  <dcterms:modified xsi:type="dcterms:W3CDTF">2020-12-06T20:29:57Z</dcterms:modified>
</cp:coreProperties>
</file>